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35" r:id="rId1"/>
  </p:sldMasterIdLst>
  <p:notesMasterIdLst>
    <p:notesMasterId r:id="rId18"/>
  </p:notesMasterIdLst>
  <p:handoutMasterIdLst>
    <p:handoutMasterId r:id="rId19"/>
  </p:handoutMasterIdLst>
  <p:sldIdLst>
    <p:sldId id="256" r:id="rId2"/>
    <p:sldId id="259" r:id="rId3"/>
    <p:sldId id="264" r:id="rId4"/>
    <p:sldId id="257" r:id="rId5"/>
    <p:sldId id="271" r:id="rId6"/>
    <p:sldId id="258" r:id="rId7"/>
    <p:sldId id="273" r:id="rId8"/>
    <p:sldId id="274" r:id="rId9"/>
    <p:sldId id="275" r:id="rId10"/>
    <p:sldId id="276" r:id="rId11"/>
    <p:sldId id="270" r:id="rId12"/>
    <p:sldId id="272" r:id="rId13"/>
    <p:sldId id="269" r:id="rId14"/>
    <p:sldId id="278" r:id="rId15"/>
    <p:sldId id="279" r:id="rId16"/>
    <p:sldId id="280" r:id="rId17"/>
  </p:sldIdLst>
  <p:sldSz cx="12190413" cy="6858000"/>
  <p:notesSz cx="6888163" cy="100203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19" userDrawn="1">
          <p15:clr>
            <a:srgbClr val="A4A3A4"/>
          </p15:clr>
        </p15:guide>
        <p15:guide id="2" orient="horz" pos="4085" userDrawn="1">
          <p15:clr>
            <a:srgbClr val="A4A3A4"/>
          </p15:clr>
        </p15:guide>
        <p15:guide id="3" pos="7423" userDrawn="1">
          <p15:clr>
            <a:srgbClr val="A4A3A4"/>
          </p15:clr>
        </p15:guide>
        <p15:guide id="4" orient="horz" pos="109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C6"/>
    <a:srgbClr val="00BCFF"/>
    <a:srgbClr val="74C713"/>
    <a:srgbClr val="00A5E2"/>
    <a:srgbClr val="E61A5D"/>
    <a:srgbClr val="FF3162"/>
    <a:srgbClr val="624963"/>
    <a:srgbClr val="D30F4B"/>
    <a:srgbClr val="0091DF"/>
    <a:srgbClr val="0061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6835CB-D6CF-480A-BDB8-E5C50933DDEE}" v="382" dt="2025-06-10T11:02:21.2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1" autoAdjust="0"/>
    <p:restoredTop sz="86246" autoAdjust="0"/>
  </p:normalViewPr>
  <p:slideViewPr>
    <p:cSldViewPr snapToGrid="0" snapToObjects="1" showGuides="1">
      <p:cViewPr varScale="1">
        <p:scale>
          <a:sx n="128" d="100"/>
          <a:sy n="128" d="100"/>
        </p:scale>
        <p:origin x="1434" y="570"/>
      </p:cViewPr>
      <p:guideLst>
        <p:guide pos="619"/>
        <p:guide orient="horz" pos="4085"/>
        <p:guide pos="7423"/>
        <p:guide orient="horz" pos="109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5" d="100"/>
          <a:sy n="75" d="100"/>
        </p:scale>
        <p:origin x="-4050" y="-114"/>
      </p:cViewPr>
      <p:guideLst>
        <p:guide orient="horz" pos="2880"/>
        <p:guide pos="2160"/>
        <p:guide orient="horz" pos="2857"/>
        <p:guide pos="19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hew Kumar" userId="0b09fd33-d61e-4b67-abe9-610466e419b0" providerId="ADAL" clId="{906835CB-D6CF-480A-BDB8-E5C50933DDEE}"/>
    <pc:docChg chg="undo custSel addSld delSld modSld sldOrd">
      <pc:chgData name="Matthew Kumar" userId="0b09fd33-d61e-4b67-abe9-610466e419b0" providerId="ADAL" clId="{906835CB-D6CF-480A-BDB8-E5C50933DDEE}" dt="2025-06-10T11:08:18.667" v="5244" actId="20577"/>
      <pc:docMkLst>
        <pc:docMk/>
      </pc:docMkLst>
      <pc:sldChg chg="modSp mod">
        <pc:chgData name="Matthew Kumar" userId="0b09fd33-d61e-4b67-abe9-610466e419b0" providerId="ADAL" clId="{906835CB-D6CF-480A-BDB8-E5C50933DDEE}" dt="2025-06-09T16:59:58.007" v="66" actId="255"/>
        <pc:sldMkLst>
          <pc:docMk/>
          <pc:sldMk cId="0" sldId="256"/>
        </pc:sldMkLst>
        <pc:spChg chg="mod">
          <ac:chgData name="Matthew Kumar" userId="0b09fd33-d61e-4b67-abe9-610466e419b0" providerId="ADAL" clId="{906835CB-D6CF-480A-BDB8-E5C50933DDEE}" dt="2025-06-09T16:59:26.622" v="7" actId="20577"/>
          <ac:spMkLst>
            <pc:docMk/>
            <pc:sldMk cId="0" sldId="256"/>
            <ac:spMk id="2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09T16:59:35.715" v="8" actId="255"/>
          <ac:spMkLst>
            <pc:docMk/>
            <pc:sldMk cId="0" sldId="256"/>
            <ac:spMk id="3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09T16:59:58.007" v="66" actId="255"/>
          <ac:spMkLst>
            <pc:docMk/>
            <pc:sldMk cId="0" sldId="256"/>
            <ac:spMk id="4" creationId="{00000000-0000-0000-0000-000000000000}"/>
          </ac:spMkLst>
        </pc:spChg>
      </pc:sldChg>
      <pc:sldChg chg="addSp delSp modSp mod ord">
        <pc:chgData name="Matthew Kumar" userId="0b09fd33-d61e-4b67-abe9-610466e419b0" providerId="ADAL" clId="{906835CB-D6CF-480A-BDB8-E5C50933DDEE}" dt="2025-06-09T23:27:29.055" v="2155" actId="20577"/>
        <pc:sldMkLst>
          <pc:docMk/>
          <pc:sldMk cId="0" sldId="257"/>
        </pc:sldMkLst>
        <pc:spChg chg="mod">
          <ac:chgData name="Matthew Kumar" userId="0b09fd33-d61e-4b67-abe9-610466e419b0" providerId="ADAL" clId="{906835CB-D6CF-480A-BDB8-E5C50933DDEE}" dt="2025-06-09T20:59:18.303" v="2138" actId="20577"/>
          <ac:spMkLst>
            <pc:docMk/>
            <pc:sldMk cId="0" sldId="257"/>
            <ac:spMk id="2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09T23:27:29.055" v="2155" actId="20577"/>
          <ac:spMkLst>
            <pc:docMk/>
            <pc:sldMk cId="0" sldId="257"/>
            <ac:spMk id="3" creationId="{00000000-0000-0000-0000-000000000000}"/>
          </ac:spMkLst>
        </pc:spChg>
        <pc:spChg chg="del">
          <ac:chgData name="Matthew Kumar" userId="0b09fd33-d61e-4b67-abe9-610466e419b0" providerId="ADAL" clId="{906835CB-D6CF-480A-BDB8-E5C50933DDEE}" dt="2025-06-09T17:07:09.641" v="242" actId="478"/>
          <ac:spMkLst>
            <pc:docMk/>
            <pc:sldMk cId="0" sldId="257"/>
            <ac:spMk id="4" creationId="{00000000-0000-0000-0000-000000000000}"/>
          </ac:spMkLst>
        </pc:spChg>
        <pc:spChg chg="add mod">
          <ac:chgData name="Matthew Kumar" userId="0b09fd33-d61e-4b67-abe9-610466e419b0" providerId="ADAL" clId="{906835CB-D6CF-480A-BDB8-E5C50933DDEE}" dt="2025-06-09T20:25:56.960" v="1534" actId="1076"/>
          <ac:spMkLst>
            <pc:docMk/>
            <pc:sldMk cId="0" sldId="257"/>
            <ac:spMk id="14" creationId="{A780FE81-8C8A-BBF3-2BD1-2A60F4BB1E2D}"/>
          </ac:spMkLst>
        </pc:spChg>
        <pc:picChg chg="add mod">
          <ac:chgData name="Matthew Kumar" userId="0b09fd33-d61e-4b67-abe9-610466e419b0" providerId="ADAL" clId="{906835CB-D6CF-480A-BDB8-E5C50933DDEE}" dt="2025-06-09T17:27:53.642" v="286" actId="1076"/>
          <ac:picMkLst>
            <pc:docMk/>
            <pc:sldMk cId="0" sldId="257"/>
            <ac:picMk id="6" creationId="{F3A061E8-4627-5478-4CC7-18D6055DDE93}"/>
          </ac:picMkLst>
        </pc:picChg>
        <pc:picChg chg="add mod">
          <ac:chgData name="Matthew Kumar" userId="0b09fd33-d61e-4b67-abe9-610466e419b0" providerId="ADAL" clId="{906835CB-D6CF-480A-BDB8-E5C50933DDEE}" dt="2025-06-09T17:27:55.612" v="287" actId="1076"/>
          <ac:picMkLst>
            <pc:docMk/>
            <pc:sldMk cId="0" sldId="257"/>
            <ac:picMk id="8" creationId="{8C8BDB25-60DB-4E86-50DE-0A3A5A19C4F7}"/>
          </ac:picMkLst>
        </pc:picChg>
        <pc:picChg chg="add del mod">
          <ac:chgData name="Matthew Kumar" userId="0b09fd33-d61e-4b67-abe9-610466e419b0" providerId="ADAL" clId="{906835CB-D6CF-480A-BDB8-E5C50933DDEE}" dt="2025-06-09T17:10:46.301" v="260" actId="478"/>
          <ac:picMkLst>
            <pc:docMk/>
            <pc:sldMk cId="0" sldId="257"/>
            <ac:picMk id="10" creationId="{533771EF-8B2F-EA01-B0D1-2F4DE24719CC}"/>
          </ac:picMkLst>
        </pc:picChg>
        <pc:picChg chg="add del mod">
          <ac:chgData name="Matthew Kumar" userId="0b09fd33-d61e-4b67-abe9-610466e419b0" providerId="ADAL" clId="{906835CB-D6CF-480A-BDB8-E5C50933DDEE}" dt="2025-06-09T17:11:15.713" v="265" actId="478"/>
          <ac:picMkLst>
            <pc:docMk/>
            <pc:sldMk cId="0" sldId="257"/>
            <ac:picMk id="12" creationId="{FF5B331B-68A9-5FBC-3B20-B74D902D1B24}"/>
          </ac:picMkLst>
        </pc:picChg>
      </pc:sldChg>
      <pc:sldChg chg="addSp modSp mod ord">
        <pc:chgData name="Matthew Kumar" userId="0b09fd33-d61e-4b67-abe9-610466e419b0" providerId="ADAL" clId="{906835CB-D6CF-480A-BDB8-E5C50933DDEE}" dt="2025-06-10T10:59:35.966" v="5163" actId="20577"/>
        <pc:sldMkLst>
          <pc:docMk/>
          <pc:sldMk cId="0" sldId="258"/>
        </pc:sldMkLst>
        <pc:spChg chg="mod">
          <ac:chgData name="Matthew Kumar" userId="0b09fd33-d61e-4b67-abe9-610466e419b0" providerId="ADAL" clId="{906835CB-D6CF-480A-BDB8-E5C50933DDEE}" dt="2025-06-09T23:46:18.963" v="2460" actId="20577"/>
          <ac:spMkLst>
            <pc:docMk/>
            <pc:sldMk cId="0" sldId="258"/>
            <ac:spMk id="2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09T23:34:36.638" v="2262" actId="113"/>
          <ac:spMkLst>
            <pc:docMk/>
            <pc:sldMk cId="0" sldId="258"/>
            <ac:spMk id="3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10T10:59:35.966" v="5163" actId="20577"/>
          <ac:spMkLst>
            <pc:docMk/>
            <pc:sldMk cId="0" sldId="258"/>
            <ac:spMk id="4" creationId="{00000000-0000-0000-0000-000000000000}"/>
          </ac:spMkLst>
        </pc:spChg>
        <pc:spChg chg="add">
          <ac:chgData name="Matthew Kumar" userId="0b09fd33-d61e-4b67-abe9-610466e419b0" providerId="ADAL" clId="{906835CB-D6CF-480A-BDB8-E5C50933DDEE}" dt="2025-06-09T23:49:57.676" v="2525"/>
          <ac:spMkLst>
            <pc:docMk/>
            <pc:sldMk cId="0" sldId="258"/>
            <ac:spMk id="5" creationId="{CFD076E9-EC06-3BA5-4DAC-4A477749530A}"/>
          </ac:spMkLst>
        </pc:spChg>
      </pc:sldChg>
      <pc:sldChg chg="addSp delSp modSp mod ord">
        <pc:chgData name="Matthew Kumar" userId="0b09fd33-d61e-4b67-abe9-610466e419b0" providerId="ADAL" clId="{906835CB-D6CF-480A-BDB8-E5C50933DDEE}" dt="2025-06-10T00:55:04.731" v="5068" actId="1076"/>
        <pc:sldMkLst>
          <pc:docMk/>
          <pc:sldMk cId="0" sldId="259"/>
        </pc:sldMkLst>
        <pc:spChg chg="mod">
          <ac:chgData name="Matthew Kumar" userId="0b09fd33-d61e-4b67-abe9-610466e419b0" providerId="ADAL" clId="{906835CB-D6CF-480A-BDB8-E5C50933DDEE}" dt="2025-06-09T20:20:38.353" v="1516" actId="113"/>
          <ac:spMkLst>
            <pc:docMk/>
            <pc:sldMk cId="0" sldId="259"/>
            <ac:spMk id="2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09T20:20:36.481" v="1515" actId="113"/>
          <ac:spMkLst>
            <pc:docMk/>
            <pc:sldMk cId="0" sldId="259"/>
            <ac:spMk id="3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10T00:55:04.731" v="5068" actId="1076"/>
          <ac:spMkLst>
            <pc:docMk/>
            <pc:sldMk cId="0" sldId="259"/>
            <ac:spMk id="4" creationId="{00000000-0000-0000-0000-000000000000}"/>
          </ac:spMkLst>
        </pc:spChg>
        <pc:spChg chg="add">
          <ac:chgData name="Matthew Kumar" userId="0b09fd33-d61e-4b67-abe9-610466e419b0" providerId="ADAL" clId="{906835CB-D6CF-480A-BDB8-E5C50933DDEE}" dt="2025-06-09T17:01:50.220" v="100"/>
          <ac:spMkLst>
            <pc:docMk/>
            <pc:sldMk cId="0" sldId="259"/>
            <ac:spMk id="5" creationId="{DAE1EB96-5E0E-C6A0-ADB9-BC1B796CF2C7}"/>
          </ac:spMkLst>
        </pc:spChg>
        <pc:spChg chg="add mod">
          <ac:chgData name="Matthew Kumar" userId="0b09fd33-d61e-4b67-abe9-610466e419b0" providerId="ADAL" clId="{906835CB-D6CF-480A-BDB8-E5C50933DDEE}" dt="2025-06-09T17:02:03.039" v="105" actId="14100"/>
          <ac:spMkLst>
            <pc:docMk/>
            <pc:sldMk cId="0" sldId="259"/>
            <ac:spMk id="6" creationId="{D54EE04C-C849-401D-4DF7-352470E3A771}"/>
          </ac:spMkLst>
        </pc:spChg>
        <pc:spChg chg="add">
          <ac:chgData name="Matthew Kumar" userId="0b09fd33-d61e-4b67-abe9-610466e419b0" providerId="ADAL" clId="{906835CB-D6CF-480A-BDB8-E5C50933DDEE}" dt="2025-06-09T17:02:06.085" v="106"/>
          <ac:spMkLst>
            <pc:docMk/>
            <pc:sldMk cId="0" sldId="259"/>
            <ac:spMk id="7" creationId="{6B6DB072-9D9F-C108-AA4D-BAD69E9208C1}"/>
          </ac:spMkLst>
        </pc:spChg>
        <pc:spChg chg="add">
          <ac:chgData name="Matthew Kumar" userId="0b09fd33-d61e-4b67-abe9-610466e419b0" providerId="ADAL" clId="{906835CB-D6CF-480A-BDB8-E5C50933DDEE}" dt="2025-06-09T17:04:45.299" v="178"/>
          <ac:spMkLst>
            <pc:docMk/>
            <pc:sldMk cId="0" sldId="259"/>
            <ac:spMk id="8" creationId="{F3B24EDB-2D57-654E-9E82-EE66FF0B688C}"/>
          </ac:spMkLst>
        </pc:spChg>
        <pc:picChg chg="add del">
          <ac:chgData name="Matthew Kumar" userId="0b09fd33-d61e-4b67-abe9-610466e419b0" providerId="ADAL" clId="{906835CB-D6CF-480A-BDB8-E5C50933DDEE}" dt="2025-06-09T20:19:29.809" v="1508" actId="22"/>
          <ac:picMkLst>
            <pc:docMk/>
            <pc:sldMk cId="0" sldId="259"/>
            <ac:picMk id="10" creationId="{08B475B9-0835-C59B-E2B9-65B07C4D9509}"/>
          </ac:picMkLst>
        </pc:picChg>
        <pc:picChg chg="add del">
          <ac:chgData name="Matthew Kumar" userId="0b09fd33-d61e-4b67-abe9-610466e419b0" providerId="ADAL" clId="{906835CB-D6CF-480A-BDB8-E5C50933DDEE}" dt="2025-06-09T20:19:36.733" v="1512" actId="22"/>
          <ac:picMkLst>
            <pc:docMk/>
            <pc:sldMk cId="0" sldId="259"/>
            <ac:picMk id="12" creationId="{7D7852F0-C46A-B924-81ED-D234DBD0A878}"/>
          </ac:picMkLst>
        </pc:picChg>
      </pc:sldChg>
      <pc:sldChg chg="modSp del mod">
        <pc:chgData name="Matthew Kumar" userId="0b09fd33-d61e-4b67-abe9-610466e419b0" providerId="ADAL" clId="{906835CB-D6CF-480A-BDB8-E5C50933DDEE}" dt="2025-06-10T00:50:09.761" v="4922" actId="47"/>
        <pc:sldMkLst>
          <pc:docMk/>
          <pc:sldMk cId="0" sldId="260"/>
        </pc:sldMkLst>
        <pc:spChg chg="mod">
          <ac:chgData name="Matthew Kumar" userId="0b09fd33-d61e-4b67-abe9-610466e419b0" providerId="ADAL" clId="{906835CB-D6CF-480A-BDB8-E5C50933DDEE}" dt="2025-06-09T18:01:57.446" v="1368" actId="20577"/>
          <ac:spMkLst>
            <pc:docMk/>
            <pc:sldMk cId="0" sldId="260"/>
            <ac:spMk id="4" creationId="{00000000-0000-0000-0000-000000000000}"/>
          </ac:spMkLst>
        </pc:spChg>
      </pc:sldChg>
      <pc:sldChg chg="del">
        <pc:chgData name="Matthew Kumar" userId="0b09fd33-d61e-4b67-abe9-610466e419b0" providerId="ADAL" clId="{906835CB-D6CF-480A-BDB8-E5C50933DDEE}" dt="2025-06-10T00:50:11.971" v="4923" actId="47"/>
        <pc:sldMkLst>
          <pc:docMk/>
          <pc:sldMk cId="0" sldId="261"/>
        </pc:sldMkLst>
      </pc:sldChg>
      <pc:sldChg chg="del">
        <pc:chgData name="Matthew Kumar" userId="0b09fd33-d61e-4b67-abe9-610466e419b0" providerId="ADAL" clId="{906835CB-D6CF-480A-BDB8-E5C50933DDEE}" dt="2025-06-10T00:50:13.591" v="4924" actId="47"/>
        <pc:sldMkLst>
          <pc:docMk/>
          <pc:sldMk cId="0" sldId="262"/>
        </pc:sldMkLst>
      </pc:sldChg>
      <pc:sldChg chg="del">
        <pc:chgData name="Matthew Kumar" userId="0b09fd33-d61e-4b67-abe9-610466e419b0" providerId="ADAL" clId="{906835CB-D6CF-480A-BDB8-E5C50933DDEE}" dt="2025-06-10T00:50:19.855" v="4927" actId="47"/>
        <pc:sldMkLst>
          <pc:docMk/>
          <pc:sldMk cId="0" sldId="263"/>
        </pc:sldMkLst>
      </pc:sldChg>
      <pc:sldChg chg="addSp delSp modSp mod ord">
        <pc:chgData name="Matthew Kumar" userId="0b09fd33-d61e-4b67-abe9-610466e419b0" providerId="ADAL" clId="{906835CB-D6CF-480A-BDB8-E5C50933DDEE}" dt="2025-06-10T11:08:18.667" v="5244" actId="20577"/>
        <pc:sldMkLst>
          <pc:docMk/>
          <pc:sldMk cId="0" sldId="264"/>
        </pc:sldMkLst>
        <pc:spChg chg="del">
          <ac:chgData name="Matthew Kumar" userId="0b09fd33-d61e-4b67-abe9-610466e419b0" providerId="ADAL" clId="{906835CB-D6CF-480A-BDB8-E5C50933DDEE}" dt="2025-06-09T17:31:34.310" v="296" actId="478"/>
          <ac:spMkLst>
            <pc:docMk/>
            <pc:sldMk cId="0" sldId="264"/>
            <ac:spMk id="2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09T23:26:44.402" v="2151" actId="20577"/>
          <ac:spMkLst>
            <pc:docMk/>
            <pc:sldMk cId="0" sldId="264"/>
            <ac:spMk id="3" creationId="{00000000-0000-0000-0000-000000000000}"/>
          </ac:spMkLst>
        </pc:spChg>
        <pc:spChg chg="del mod">
          <ac:chgData name="Matthew Kumar" userId="0b09fd33-d61e-4b67-abe9-610466e419b0" providerId="ADAL" clId="{906835CB-D6CF-480A-BDB8-E5C50933DDEE}" dt="2025-06-09T17:50:10.038" v="857" actId="478"/>
          <ac:spMkLst>
            <pc:docMk/>
            <pc:sldMk cId="0" sldId="264"/>
            <ac:spMk id="4" creationId="{00000000-0000-0000-0000-000000000000}"/>
          </ac:spMkLst>
        </pc:spChg>
        <pc:spChg chg="add mod">
          <ac:chgData name="Matthew Kumar" userId="0b09fd33-d61e-4b67-abe9-610466e419b0" providerId="ADAL" clId="{906835CB-D6CF-480A-BDB8-E5C50933DDEE}" dt="2025-06-10T11:08:18.667" v="5244" actId="20577"/>
          <ac:spMkLst>
            <pc:docMk/>
            <pc:sldMk cId="0" sldId="264"/>
            <ac:spMk id="6" creationId="{3913AA58-0C51-9C73-D061-86DCDAD20571}"/>
          </ac:spMkLst>
        </pc:spChg>
        <pc:spChg chg="add mod">
          <ac:chgData name="Matthew Kumar" userId="0b09fd33-d61e-4b67-abe9-610466e419b0" providerId="ADAL" clId="{906835CB-D6CF-480A-BDB8-E5C50933DDEE}" dt="2025-06-09T23:27:35.121" v="2156" actId="113"/>
          <ac:spMkLst>
            <pc:docMk/>
            <pc:sldMk cId="0" sldId="264"/>
            <ac:spMk id="7" creationId="{08FE058A-263B-489F-B242-B71FEB6E5B9E}"/>
          </ac:spMkLst>
        </pc:spChg>
        <pc:spChg chg="add">
          <ac:chgData name="Matthew Kumar" userId="0b09fd33-d61e-4b67-abe9-610466e419b0" providerId="ADAL" clId="{906835CB-D6CF-480A-BDB8-E5C50933DDEE}" dt="2025-06-09T23:31:31.634" v="2166"/>
          <ac:spMkLst>
            <pc:docMk/>
            <pc:sldMk cId="0" sldId="264"/>
            <ac:spMk id="8" creationId="{8FE8756E-A7FB-99D3-A043-340C4B0A34CC}"/>
          </ac:spMkLst>
        </pc:spChg>
      </pc:sldChg>
      <pc:sldChg chg="del">
        <pc:chgData name="Matthew Kumar" userId="0b09fd33-d61e-4b67-abe9-610466e419b0" providerId="ADAL" clId="{906835CB-D6CF-480A-BDB8-E5C50933DDEE}" dt="2025-06-10T00:50:28.710" v="4929" actId="47"/>
        <pc:sldMkLst>
          <pc:docMk/>
          <pc:sldMk cId="0" sldId="265"/>
        </pc:sldMkLst>
      </pc:sldChg>
      <pc:sldChg chg="modSp del mod ord">
        <pc:chgData name="Matthew Kumar" userId="0b09fd33-d61e-4b67-abe9-610466e419b0" providerId="ADAL" clId="{906835CB-D6CF-480A-BDB8-E5C50933DDEE}" dt="2025-06-10T00:44:37.775" v="4737" actId="47"/>
        <pc:sldMkLst>
          <pc:docMk/>
          <pc:sldMk cId="0" sldId="266"/>
        </pc:sldMkLst>
        <pc:spChg chg="mod">
          <ac:chgData name="Matthew Kumar" userId="0b09fd33-d61e-4b67-abe9-610466e419b0" providerId="ADAL" clId="{906835CB-D6CF-480A-BDB8-E5C50933DDEE}" dt="2025-06-10T00:25:40.366" v="3672" actId="20577"/>
          <ac:spMkLst>
            <pc:docMk/>
            <pc:sldMk cId="0" sldId="266"/>
            <ac:spMk id="2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10T00:19:45.544" v="3624" actId="20577"/>
          <ac:spMkLst>
            <pc:docMk/>
            <pc:sldMk cId="0" sldId="266"/>
            <ac:spMk id="3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10T00:34:52.919" v="4534" actId="20577"/>
          <ac:spMkLst>
            <pc:docMk/>
            <pc:sldMk cId="0" sldId="266"/>
            <ac:spMk id="4" creationId="{00000000-0000-0000-0000-000000000000}"/>
          </ac:spMkLst>
        </pc:spChg>
      </pc:sldChg>
      <pc:sldChg chg="modSp del mod">
        <pc:chgData name="Matthew Kumar" userId="0b09fd33-d61e-4b67-abe9-610466e419b0" providerId="ADAL" clId="{906835CB-D6CF-480A-BDB8-E5C50933DDEE}" dt="2025-06-10T00:50:33.586" v="4930" actId="47"/>
        <pc:sldMkLst>
          <pc:docMk/>
          <pc:sldMk cId="0" sldId="267"/>
        </pc:sldMkLst>
        <pc:spChg chg="mod">
          <ac:chgData name="Matthew Kumar" userId="0b09fd33-d61e-4b67-abe9-610466e419b0" providerId="ADAL" clId="{906835CB-D6CF-480A-BDB8-E5C50933DDEE}" dt="2025-06-10T00:39:44.387" v="4712" actId="113"/>
          <ac:spMkLst>
            <pc:docMk/>
            <pc:sldMk cId="0" sldId="267"/>
            <ac:spMk id="4" creationId="{00000000-0000-0000-0000-000000000000}"/>
          </ac:spMkLst>
        </pc:spChg>
      </pc:sldChg>
      <pc:sldChg chg="del">
        <pc:chgData name="Matthew Kumar" userId="0b09fd33-d61e-4b67-abe9-610466e419b0" providerId="ADAL" clId="{906835CB-D6CF-480A-BDB8-E5C50933DDEE}" dt="2025-06-10T00:50:34.600" v="4931" actId="47"/>
        <pc:sldMkLst>
          <pc:docMk/>
          <pc:sldMk cId="0" sldId="268"/>
        </pc:sldMkLst>
      </pc:sldChg>
      <pc:sldChg chg="addSp delSp modSp mod">
        <pc:chgData name="Matthew Kumar" userId="0b09fd33-d61e-4b67-abe9-610466e419b0" providerId="ADAL" clId="{906835CB-D6CF-480A-BDB8-E5C50933DDEE}" dt="2025-06-10T11:01:51.920" v="5197" actId="1076"/>
        <pc:sldMkLst>
          <pc:docMk/>
          <pc:sldMk cId="0" sldId="269"/>
        </pc:sldMkLst>
        <pc:spChg chg="del">
          <ac:chgData name="Matthew Kumar" userId="0b09fd33-d61e-4b67-abe9-610466e419b0" providerId="ADAL" clId="{906835CB-D6CF-480A-BDB8-E5C50933DDEE}" dt="2025-06-10T00:50:40.538" v="4932" actId="478"/>
          <ac:spMkLst>
            <pc:docMk/>
            <pc:sldMk cId="0" sldId="269"/>
            <ac:spMk id="2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10T00:51:20.101" v="4952"/>
          <ac:spMkLst>
            <pc:docMk/>
            <pc:sldMk cId="0" sldId="269"/>
            <ac:spMk id="3" creationId="{00000000-0000-0000-0000-000000000000}"/>
          </ac:spMkLst>
        </pc:spChg>
        <pc:spChg chg="del">
          <ac:chgData name="Matthew Kumar" userId="0b09fd33-d61e-4b67-abe9-610466e419b0" providerId="ADAL" clId="{906835CB-D6CF-480A-BDB8-E5C50933DDEE}" dt="2025-06-10T00:50:43.026" v="4933" actId="478"/>
          <ac:spMkLst>
            <pc:docMk/>
            <pc:sldMk cId="0" sldId="269"/>
            <ac:spMk id="4" creationId="{00000000-0000-0000-0000-000000000000}"/>
          </ac:spMkLst>
        </pc:spChg>
        <pc:spChg chg="add">
          <ac:chgData name="Matthew Kumar" userId="0b09fd33-d61e-4b67-abe9-610466e419b0" providerId="ADAL" clId="{906835CB-D6CF-480A-BDB8-E5C50933DDEE}" dt="2025-06-10T00:50:47.400" v="4934"/>
          <ac:spMkLst>
            <pc:docMk/>
            <pc:sldMk cId="0" sldId="269"/>
            <ac:spMk id="5" creationId="{5C1AE086-189F-2D18-0197-9CEAFF68C396}"/>
          </ac:spMkLst>
        </pc:spChg>
        <pc:spChg chg="add mod">
          <ac:chgData name="Matthew Kumar" userId="0b09fd33-d61e-4b67-abe9-610466e419b0" providerId="ADAL" clId="{906835CB-D6CF-480A-BDB8-E5C50933DDEE}" dt="2025-06-10T11:01:51.920" v="5197" actId="1076"/>
          <ac:spMkLst>
            <pc:docMk/>
            <pc:sldMk cId="0" sldId="269"/>
            <ac:spMk id="6" creationId="{4B4B33DE-90FE-2ACD-0215-859921222EF7}"/>
          </ac:spMkLst>
        </pc:spChg>
      </pc:sldChg>
      <pc:sldChg chg="addSp delSp modSp mod ord">
        <pc:chgData name="Matthew Kumar" userId="0b09fd33-d61e-4b67-abe9-610466e419b0" providerId="ADAL" clId="{906835CB-D6CF-480A-BDB8-E5C50933DDEE}" dt="2025-06-10T11:07:48.481" v="5217" actId="113"/>
        <pc:sldMkLst>
          <pc:docMk/>
          <pc:sldMk cId="0" sldId="270"/>
        </pc:sldMkLst>
        <pc:spChg chg="del">
          <ac:chgData name="Matthew Kumar" userId="0b09fd33-d61e-4b67-abe9-610466e419b0" providerId="ADAL" clId="{906835CB-D6CF-480A-BDB8-E5C50933DDEE}" dt="2025-06-10T00:38:29.564" v="4609" actId="478"/>
          <ac:spMkLst>
            <pc:docMk/>
            <pc:sldMk cId="0" sldId="270"/>
            <ac:spMk id="2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10T00:49:22.379" v="4911"/>
          <ac:spMkLst>
            <pc:docMk/>
            <pc:sldMk cId="0" sldId="270"/>
            <ac:spMk id="3" creationId="{00000000-0000-0000-0000-000000000000}"/>
          </ac:spMkLst>
        </pc:spChg>
        <pc:spChg chg="del mod">
          <ac:chgData name="Matthew Kumar" userId="0b09fd33-d61e-4b67-abe9-610466e419b0" providerId="ADAL" clId="{906835CB-D6CF-480A-BDB8-E5C50933DDEE}" dt="2025-06-10T00:38:26.859" v="4607" actId="478"/>
          <ac:spMkLst>
            <pc:docMk/>
            <pc:sldMk cId="0" sldId="270"/>
            <ac:spMk id="4" creationId="{00000000-0000-0000-0000-000000000000}"/>
          </ac:spMkLst>
        </pc:spChg>
        <pc:spChg chg="add del mod">
          <ac:chgData name="Matthew Kumar" userId="0b09fd33-d61e-4b67-abe9-610466e419b0" providerId="ADAL" clId="{906835CB-D6CF-480A-BDB8-E5C50933DDEE}" dt="2025-06-10T00:38:28.241" v="4608" actId="478"/>
          <ac:spMkLst>
            <pc:docMk/>
            <pc:sldMk cId="0" sldId="270"/>
            <ac:spMk id="6" creationId="{3EAD5830-30F9-49EE-FE41-A6CD6E917402}"/>
          </ac:spMkLst>
        </pc:spChg>
        <pc:spChg chg="add mod">
          <ac:chgData name="Matthew Kumar" userId="0b09fd33-d61e-4b67-abe9-610466e419b0" providerId="ADAL" clId="{906835CB-D6CF-480A-BDB8-E5C50933DDEE}" dt="2025-06-10T11:07:48.481" v="5217" actId="113"/>
          <ac:spMkLst>
            <pc:docMk/>
            <pc:sldMk cId="0" sldId="270"/>
            <ac:spMk id="8" creationId="{A08D6339-00D5-4661-7A97-5BFCE4A74400}"/>
          </ac:spMkLst>
        </pc:spChg>
        <pc:spChg chg="add mod">
          <ac:chgData name="Matthew Kumar" userId="0b09fd33-d61e-4b67-abe9-610466e419b0" providerId="ADAL" clId="{906835CB-D6CF-480A-BDB8-E5C50933DDEE}" dt="2025-06-10T00:53:33.832" v="5067" actId="1076"/>
          <ac:spMkLst>
            <pc:docMk/>
            <pc:sldMk cId="0" sldId="270"/>
            <ac:spMk id="9" creationId="{75FCDFA4-80C5-6646-7D48-2850A5376639}"/>
          </ac:spMkLst>
        </pc:spChg>
        <pc:spChg chg="add">
          <ac:chgData name="Matthew Kumar" userId="0b09fd33-d61e-4b67-abe9-610466e419b0" providerId="ADAL" clId="{906835CB-D6CF-480A-BDB8-E5C50933DDEE}" dt="2025-06-10T00:49:15.405" v="4909"/>
          <ac:spMkLst>
            <pc:docMk/>
            <pc:sldMk cId="0" sldId="270"/>
            <ac:spMk id="10" creationId="{0193CB07-137B-6CCA-580D-EDC4A9694C01}"/>
          </ac:spMkLst>
        </pc:spChg>
      </pc:sldChg>
      <pc:sldChg chg="addSp delSp modSp add mod ord">
        <pc:chgData name="Matthew Kumar" userId="0b09fd33-d61e-4b67-abe9-610466e419b0" providerId="ADAL" clId="{906835CB-D6CF-480A-BDB8-E5C50933DDEE}" dt="2025-06-09T23:53:36.254" v="2729" actId="20577"/>
        <pc:sldMkLst>
          <pc:docMk/>
          <pc:sldMk cId="2964773337" sldId="271"/>
        </pc:sldMkLst>
        <pc:spChg chg="mod">
          <ac:chgData name="Matthew Kumar" userId="0b09fd33-d61e-4b67-abe9-610466e419b0" providerId="ADAL" clId="{906835CB-D6CF-480A-BDB8-E5C50933DDEE}" dt="2025-06-09T23:53:36.254" v="2729" actId="20577"/>
          <ac:spMkLst>
            <pc:docMk/>
            <pc:sldMk cId="2964773337" sldId="271"/>
            <ac:spMk id="2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09T23:28:45.561" v="2161" actId="20577"/>
          <ac:spMkLst>
            <pc:docMk/>
            <pc:sldMk cId="2964773337" sldId="271"/>
            <ac:spMk id="3" creationId="{00000000-0000-0000-0000-000000000000}"/>
          </ac:spMkLst>
        </pc:spChg>
        <pc:picChg chg="add mod">
          <ac:chgData name="Matthew Kumar" userId="0b09fd33-d61e-4b67-abe9-610466e419b0" providerId="ADAL" clId="{906835CB-D6CF-480A-BDB8-E5C50933DDEE}" dt="2025-06-09T23:46:51.851" v="2461" actId="1076"/>
          <ac:picMkLst>
            <pc:docMk/>
            <pc:sldMk cId="2964773337" sldId="271"/>
            <ac:picMk id="5" creationId="{F3329EE8-3BF4-D216-CD5C-2F35713F0FFB}"/>
          </ac:picMkLst>
        </pc:picChg>
        <pc:picChg chg="del">
          <ac:chgData name="Matthew Kumar" userId="0b09fd33-d61e-4b67-abe9-610466e419b0" providerId="ADAL" clId="{906835CB-D6CF-480A-BDB8-E5C50933DDEE}" dt="2025-06-09T17:27:20.225" v="276" actId="478"/>
          <ac:picMkLst>
            <pc:docMk/>
            <pc:sldMk cId="2964773337" sldId="271"/>
            <ac:picMk id="6" creationId="{F3A061E8-4627-5478-4CC7-18D6055DDE93}"/>
          </ac:picMkLst>
        </pc:picChg>
        <pc:picChg chg="del">
          <ac:chgData name="Matthew Kumar" userId="0b09fd33-d61e-4b67-abe9-610466e419b0" providerId="ADAL" clId="{906835CB-D6CF-480A-BDB8-E5C50933DDEE}" dt="2025-06-09T17:27:20.737" v="277" actId="478"/>
          <ac:picMkLst>
            <pc:docMk/>
            <pc:sldMk cId="2964773337" sldId="271"/>
            <ac:picMk id="8" creationId="{8C8BDB25-60DB-4E86-50DE-0A3A5A19C4F7}"/>
          </ac:picMkLst>
        </pc:picChg>
      </pc:sldChg>
      <pc:sldChg chg="addSp delSp modSp add del mod ord">
        <pc:chgData name="Matthew Kumar" userId="0b09fd33-d61e-4b67-abe9-610466e419b0" providerId="ADAL" clId="{906835CB-D6CF-480A-BDB8-E5C50933DDEE}" dt="2025-06-10T00:52:36.676" v="5048" actId="1076"/>
        <pc:sldMkLst>
          <pc:docMk/>
          <pc:sldMk cId="2585710366" sldId="272"/>
        </pc:sldMkLst>
        <pc:spChg chg="add del mod">
          <ac:chgData name="Matthew Kumar" userId="0b09fd33-d61e-4b67-abe9-610466e419b0" providerId="ADAL" clId="{906835CB-D6CF-480A-BDB8-E5C50933DDEE}" dt="2025-06-09T17:38:57.702" v="396" actId="478"/>
          <ac:spMkLst>
            <pc:docMk/>
            <pc:sldMk cId="2585710366" sldId="272"/>
            <ac:spMk id="2" creationId="{69054889-E78E-B343-6DED-D2CC3EE3B350}"/>
          </ac:spMkLst>
        </pc:spChg>
        <pc:spChg chg="mod">
          <ac:chgData name="Matthew Kumar" userId="0b09fd33-d61e-4b67-abe9-610466e419b0" providerId="ADAL" clId="{906835CB-D6CF-480A-BDB8-E5C50933DDEE}" dt="2025-06-10T00:52:20.711" v="5045" actId="20577"/>
          <ac:spMkLst>
            <pc:docMk/>
            <pc:sldMk cId="2585710366" sldId="272"/>
            <ac:spMk id="3" creationId="{00000000-0000-0000-0000-000000000000}"/>
          </ac:spMkLst>
        </pc:spChg>
        <pc:spChg chg="del mod">
          <ac:chgData name="Matthew Kumar" userId="0b09fd33-d61e-4b67-abe9-610466e419b0" providerId="ADAL" clId="{906835CB-D6CF-480A-BDB8-E5C50933DDEE}" dt="2025-06-10T00:52:28.005" v="5046" actId="478"/>
          <ac:spMkLst>
            <pc:docMk/>
            <pc:sldMk cId="2585710366" sldId="272"/>
            <ac:spMk id="4" creationId="{00000000-0000-0000-0000-000000000000}"/>
          </ac:spMkLst>
        </pc:spChg>
        <pc:spChg chg="add del mod">
          <ac:chgData name="Matthew Kumar" userId="0b09fd33-d61e-4b67-abe9-610466e419b0" providerId="ADAL" clId="{906835CB-D6CF-480A-BDB8-E5C50933DDEE}" dt="2025-06-10T00:52:31.289" v="5047" actId="478"/>
          <ac:spMkLst>
            <pc:docMk/>
            <pc:sldMk cId="2585710366" sldId="272"/>
            <ac:spMk id="7" creationId="{C401F4B8-7052-8C35-BCB4-BA333EF69F4B}"/>
          </ac:spMkLst>
        </pc:spChg>
        <pc:picChg chg="add del mod">
          <ac:chgData name="Matthew Kumar" userId="0b09fd33-d61e-4b67-abe9-610466e419b0" providerId="ADAL" clId="{906835CB-D6CF-480A-BDB8-E5C50933DDEE}" dt="2025-06-09T17:38:57.702" v="396" actId="478"/>
          <ac:picMkLst>
            <pc:docMk/>
            <pc:sldMk cId="2585710366" sldId="272"/>
            <ac:picMk id="5" creationId="{86DF6976-F67E-3152-1F4B-66BE6613712F}"/>
          </ac:picMkLst>
        </pc:picChg>
        <pc:picChg chg="add del mod">
          <ac:chgData name="Matthew Kumar" userId="0b09fd33-d61e-4b67-abe9-610466e419b0" providerId="ADAL" clId="{906835CB-D6CF-480A-BDB8-E5C50933DDEE}" dt="2025-06-09T17:39:48.254" v="400" actId="478"/>
          <ac:picMkLst>
            <pc:docMk/>
            <pc:sldMk cId="2585710366" sldId="272"/>
            <ac:picMk id="2050" creationId="{36BC2113-CC92-E81E-3103-672BA45408A8}"/>
          </ac:picMkLst>
        </pc:picChg>
        <pc:picChg chg="add mod">
          <ac:chgData name="Matthew Kumar" userId="0b09fd33-d61e-4b67-abe9-610466e419b0" providerId="ADAL" clId="{906835CB-D6CF-480A-BDB8-E5C50933DDEE}" dt="2025-06-10T00:52:36.676" v="5048" actId="1076"/>
          <ac:picMkLst>
            <pc:docMk/>
            <pc:sldMk cId="2585710366" sldId="272"/>
            <ac:picMk id="2052" creationId="{3BFDE6CE-9BB7-FC28-D829-7C6E1BD809A9}"/>
          </ac:picMkLst>
        </pc:picChg>
        <pc:picChg chg="add del mod">
          <ac:chgData name="Matthew Kumar" userId="0b09fd33-d61e-4b67-abe9-610466e419b0" providerId="ADAL" clId="{906835CB-D6CF-480A-BDB8-E5C50933DDEE}" dt="2025-06-09T17:42:46.670" v="548" actId="478"/>
          <ac:picMkLst>
            <pc:docMk/>
            <pc:sldMk cId="2585710366" sldId="272"/>
            <ac:picMk id="2054" creationId="{69E34D66-3390-D473-F6DC-500B2A4B326F}"/>
          </ac:picMkLst>
        </pc:picChg>
        <pc:picChg chg="add mod">
          <ac:chgData name="Matthew Kumar" userId="0b09fd33-d61e-4b67-abe9-610466e419b0" providerId="ADAL" clId="{906835CB-D6CF-480A-BDB8-E5C50933DDEE}" dt="2025-06-10T00:52:36.676" v="5048" actId="1076"/>
          <ac:picMkLst>
            <pc:docMk/>
            <pc:sldMk cId="2585710366" sldId="272"/>
            <ac:picMk id="2056" creationId="{043CE8A7-6113-FF28-AAD2-AB019C1F3E99}"/>
          </ac:picMkLst>
        </pc:picChg>
      </pc:sldChg>
      <pc:sldChg chg="addSp delSp modSp add mod modNotesTx">
        <pc:chgData name="Matthew Kumar" userId="0b09fd33-d61e-4b67-abe9-610466e419b0" providerId="ADAL" clId="{906835CB-D6CF-480A-BDB8-E5C50933DDEE}" dt="2025-06-10T11:06:18.062" v="5208" actId="1076"/>
        <pc:sldMkLst>
          <pc:docMk/>
          <pc:sldMk cId="529826031" sldId="273"/>
        </pc:sldMkLst>
        <pc:spChg chg="del mod">
          <ac:chgData name="Matthew Kumar" userId="0b09fd33-d61e-4b67-abe9-610466e419b0" providerId="ADAL" clId="{906835CB-D6CF-480A-BDB8-E5C50933DDEE}" dt="2025-06-10T00:02:17.763" v="3059" actId="478"/>
          <ac:spMkLst>
            <pc:docMk/>
            <pc:sldMk cId="529826031" sldId="273"/>
            <ac:spMk id="2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10T00:48:28.227" v="4892" actId="6549"/>
          <ac:spMkLst>
            <pc:docMk/>
            <pc:sldMk cId="529826031" sldId="273"/>
            <ac:spMk id="3" creationId="{00000000-0000-0000-0000-000000000000}"/>
          </ac:spMkLst>
        </pc:spChg>
        <pc:spChg chg="del">
          <ac:chgData name="Matthew Kumar" userId="0b09fd33-d61e-4b67-abe9-610466e419b0" providerId="ADAL" clId="{906835CB-D6CF-480A-BDB8-E5C50933DDEE}" dt="2025-06-10T00:01:37.375" v="3028" actId="478"/>
          <ac:spMkLst>
            <pc:docMk/>
            <pc:sldMk cId="529826031" sldId="273"/>
            <ac:spMk id="4" creationId="{00000000-0000-0000-0000-000000000000}"/>
          </ac:spMkLst>
        </pc:spChg>
        <pc:spChg chg="add del mod">
          <ac:chgData name="Matthew Kumar" userId="0b09fd33-d61e-4b67-abe9-610466e419b0" providerId="ADAL" clId="{906835CB-D6CF-480A-BDB8-E5C50933DDEE}" dt="2025-06-10T00:01:59.496" v="3030" actId="478"/>
          <ac:spMkLst>
            <pc:docMk/>
            <pc:sldMk cId="529826031" sldId="273"/>
            <ac:spMk id="6" creationId="{8407F688-1B0A-97FA-B5A9-2A8B8E7052CB}"/>
          </ac:spMkLst>
        </pc:spChg>
        <pc:spChg chg="add del mod">
          <ac:chgData name="Matthew Kumar" userId="0b09fd33-d61e-4b67-abe9-610466e419b0" providerId="ADAL" clId="{906835CB-D6CF-480A-BDB8-E5C50933DDEE}" dt="2025-06-10T00:02:20.060" v="3060" actId="478"/>
          <ac:spMkLst>
            <pc:docMk/>
            <pc:sldMk cId="529826031" sldId="273"/>
            <ac:spMk id="8" creationId="{BB057647-0BB9-E886-7FB5-4B797DC419E7}"/>
          </ac:spMkLst>
        </pc:spChg>
        <pc:spChg chg="add mod">
          <ac:chgData name="Matthew Kumar" userId="0b09fd33-d61e-4b67-abe9-610466e419b0" providerId="ADAL" clId="{906835CB-D6CF-480A-BDB8-E5C50933DDEE}" dt="2025-06-10T03:09:55.557" v="5126" actId="1076"/>
          <ac:spMkLst>
            <pc:docMk/>
            <pc:sldMk cId="529826031" sldId="273"/>
            <ac:spMk id="11" creationId="{B9B093BE-71D9-A06F-50C1-6C53D73FF986}"/>
          </ac:spMkLst>
        </pc:spChg>
        <pc:spChg chg="add mod">
          <ac:chgData name="Matthew Kumar" userId="0b09fd33-d61e-4b67-abe9-610466e419b0" providerId="ADAL" clId="{906835CB-D6CF-480A-BDB8-E5C50933DDEE}" dt="2025-06-10T03:09:31.901" v="5123" actId="1076"/>
          <ac:spMkLst>
            <pc:docMk/>
            <pc:sldMk cId="529826031" sldId="273"/>
            <ac:spMk id="12" creationId="{CAA2D644-732B-5AEC-6F97-23069882F797}"/>
          </ac:spMkLst>
        </pc:spChg>
        <pc:spChg chg="add mod">
          <ac:chgData name="Matthew Kumar" userId="0b09fd33-d61e-4b67-abe9-610466e419b0" providerId="ADAL" clId="{906835CB-D6CF-480A-BDB8-E5C50933DDEE}" dt="2025-06-10T03:10:00.222" v="5127" actId="1076"/>
          <ac:spMkLst>
            <pc:docMk/>
            <pc:sldMk cId="529826031" sldId="273"/>
            <ac:spMk id="13" creationId="{42300D03-2CF3-42CC-F0E4-EE4A81B4AB4D}"/>
          </ac:spMkLst>
        </pc:spChg>
        <pc:spChg chg="add del mod">
          <ac:chgData name="Matthew Kumar" userId="0b09fd33-d61e-4b67-abe9-610466e419b0" providerId="ADAL" clId="{906835CB-D6CF-480A-BDB8-E5C50933DDEE}" dt="2025-06-10T00:05:19.156" v="3095" actId="478"/>
          <ac:spMkLst>
            <pc:docMk/>
            <pc:sldMk cId="529826031" sldId="273"/>
            <ac:spMk id="14" creationId="{6975C235-8704-3A4E-0345-20371310F410}"/>
          </ac:spMkLst>
        </pc:spChg>
        <pc:spChg chg="add mod">
          <ac:chgData name="Matthew Kumar" userId="0b09fd33-d61e-4b67-abe9-610466e419b0" providerId="ADAL" clId="{906835CB-D6CF-480A-BDB8-E5C50933DDEE}" dt="2025-06-10T00:05:12.664" v="3092"/>
          <ac:spMkLst>
            <pc:docMk/>
            <pc:sldMk cId="529826031" sldId="273"/>
            <ac:spMk id="15" creationId="{53C77AE3-BF62-C821-EEA7-5A3094A7C973}"/>
          </ac:spMkLst>
        </pc:spChg>
        <pc:spChg chg="add mod">
          <ac:chgData name="Matthew Kumar" userId="0b09fd33-d61e-4b67-abe9-610466e419b0" providerId="ADAL" clId="{906835CB-D6CF-480A-BDB8-E5C50933DDEE}" dt="2025-06-10T11:06:18.062" v="5208" actId="1076"/>
          <ac:spMkLst>
            <pc:docMk/>
            <pc:sldMk cId="529826031" sldId="273"/>
            <ac:spMk id="16" creationId="{39B4625E-6596-17F2-ACBA-FE884D9B5E0E}"/>
          </ac:spMkLst>
        </pc:spChg>
        <pc:picChg chg="add del mod">
          <ac:chgData name="Matthew Kumar" userId="0b09fd33-d61e-4b67-abe9-610466e419b0" providerId="ADAL" clId="{906835CB-D6CF-480A-BDB8-E5C50933DDEE}" dt="2025-06-10T00:07:32.742" v="3197" actId="478"/>
          <ac:picMkLst>
            <pc:docMk/>
            <pc:sldMk cId="529826031" sldId="273"/>
            <ac:picMk id="10" creationId="{2431A5DC-9C29-9E07-AB04-73467792CAFC}"/>
          </ac:picMkLst>
        </pc:picChg>
        <pc:picChg chg="add del mod ord">
          <ac:chgData name="Matthew Kumar" userId="0b09fd33-d61e-4b67-abe9-610466e419b0" providerId="ADAL" clId="{906835CB-D6CF-480A-BDB8-E5C50933DDEE}" dt="2025-06-10T00:21:22.901" v="3631" actId="478"/>
          <ac:picMkLst>
            <pc:docMk/>
            <pc:sldMk cId="529826031" sldId="273"/>
            <ac:picMk id="18" creationId="{26DD0E31-113E-0D9A-541C-20C1B4C6A27E}"/>
          </ac:picMkLst>
        </pc:picChg>
        <pc:picChg chg="add mod ord">
          <ac:chgData name="Matthew Kumar" userId="0b09fd33-d61e-4b67-abe9-610466e419b0" providerId="ADAL" clId="{906835CB-D6CF-480A-BDB8-E5C50933DDEE}" dt="2025-06-10T00:21:53.790" v="3641" actId="14861"/>
          <ac:picMkLst>
            <pc:docMk/>
            <pc:sldMk cId="529826031" sldId="273"/>
            <ac:picMk id="20" creationId="{AE0F3CF2-E06B-0087-233B-A95BC0873D94}"/>
          </ac:picMkLst>
        </pc:picChg>
      </pc:sldChg>
      <pc:sldChg chg="addSp delSp modSp add mod ord">
        <pc:chgData name="Matthew Kumar" userId="0b09fd33-d61e-4b67-abe9-610466e419b0" providerId="ADAL" clId="{906835CB-D6CF-480A-BDB8-E5C50933DDEE}" dt="2025-06-10T11:00:20.946" v="5165" actId="255"/>
        <pc:sldMkLst>
          <pc:docMk/>
          <pc:sldMk cId="1752190332" sldId="274"/>
        </pc:sldMkLst>
        <pc:spChg chg="mod">
          <ac:chgData name="Matthew Kumar" userId="0b09fd33-d61e-4b67-abe9-610466e419b0" providerId="ADAL" clId="{906835CB-D6CF-480A-BDB8-E5C50933DDEE}" dt="2025-06-10T00:48:23.582" v="4891" actId="6549"/>
          <ac:spMkLst>
            <pc:docMk/>
            <pc:sldMk cId="1752190332" sldId="274"/>
            <ac:spMk id="3" creationId="{00000000-0000-0000-0000-000000000000}"/>
          </ac:spMkLst>
        </pc:spChg>
        <pc:spChg chg="add mod">
          <ac:chgData name="Matthew Kumar" userId="0b09fd33-d61e-4b67-abe9-610466e419b0" providerId="ADAL" clId="{906835CB-D6CF-480A-BDB8-E5C50933DDEE}" dt="2025-06-10T00:23:52.475" v="3652" actId="1076"/>
          <ac:spMkLst>
            <pc:docMk/>
            <pc:sldMk cId="1752190332" sldId="274"/>
            <ac:spMk id="16" creationId="{B09E5596-4983-046F-8124-B0F73D88AC8E}"/>
          </ac:spMkLst>
        </pc:spChg>
        <pc:spChg chg="add mod">
          <ac:chgData name="Matthew Kumar" userId="0b09fd33-d61e-4b67-abe9-610466e419b0" providerId="ADAL" clId="{906835CB-D6CF-480A-BDB8-E5C50933DDEE}" dt="2025-06-10T00:40:12.247" v="4716" actId="1076"/>
          <ac:spMkLst>
            <pc:docMk/>
            <pc:sldMk cId="1752190332" sldId="274"/>
            <ac:spMk id="17" creationId="{6E2A6FCC-1EFE-D7E2-1DE0-F7E1B7E5D627}"/>
          </ac:spMkLst>
        </pc:spChg>
        <pc:spChg chg="add mod">
          <ac:chgData name="Matthew Kumar" userId="0b09fd33-d61e-4b67-abe9-610466e419b0" providerId="ADAL" clId="{906835CB-D6CF-480A-BDB8-E5C50933DDEE}" dt="2025-06-10T00:24:04.689" v="3656" actId="1076"/>
          <ac:spMkLst>
            <pc:docMk/>
            <pc:sldMk cId="1752190332" sldId="274"/>
            <ac:spMk id="18" creationId="{ED59B6E5-D582-6B23-1F6D-4B2C48199657}"/>
          </ac:spMkLst>
        </pc:spChg>
        <pc:spChg chg="add mod">
          <ac:chgData name="Matthew Kumar" userId="0b09fd33-d61e-4b67-abe9-610466e419b0" providerId="ADAL" clId="{906835CB-D6CF-480A-BDB8-E5C50933DDEE}" dt="2025-06-10T00:24:31.431" v="3659" actId="1076"/>
          <ac:spMkLst>
            <pc:docMk/>
            <pc:sldMk cId="1752190332" sldId="274"/>
            <ac:spMk id="19" creationId="{2918B1DE-46F7-5AFE-412D-3E8EABE0FEA7}"/>
          </ac:spMkLst>
        </pc:spChg>
        <pc:spChg chg="add mod">
          <ac:chgData name="Matthew Kumar" userId="0b09fd33-d61e-4b67-abe9-610466e419b0" providerId="ADAL" clId="{906835CB-D6CF-480A-BDB8-E5C50933DDEE}" dt="2025-06-10T00:14:22.601" v="3283" actId="1076"/>
          <ac:spMkLst>
            <pc:docMk/>
            <pc:sldMk cId="1752190332" sldId="274"/>
            <ac:spMk id="20" creationId="{6CBCC306-31DB-4828-2C94-DD0E356AA547}"/>
          </ac:spMkLst>
        </pc:spChg>
        <pc:spChg chg="add mod">
          <ac:chgData name="Matthew Kumar" userId="0b09fd33-d61e-4b67-abe9-610466e419b0" providerId="ADAL" clId="{906835CB-D6CF-480A-BDB8-E5C50933DDEE}" dt="2025-06-10T11:00:20.946" v="5165" actId="255"/>
          <ac:spMkLst>
            <pc:docMk/>
            <pc:sldMk cId="1752190332" sldId="274"/>
            <ac:spMk id="21" creationId="{B4D986E6-3E2A-DB4E-E68E-1675CEBC2F76}"/>
          </ac:spMkLst>
        </pc:spChg>
        <pc:spChg chg="add mod">
          <ac:chgData name="Matthew Kumar" userId="0b09fd33-d61e-4b67-abe9-610466e419b0" providerId="ADAL" clId="{906835CB-D6CF-480A-BDB8-E5C50933DDEE}" dt="2025-06-10T00:24:43.402" v="3663" actId="1076"/>
          <ac:spMkLst>
            <pc:docMk/>
            <pc:sldMk cId="1752190332" sldId="274"/>
            <ac:spMk id="30" creationId="{DB6F0705-998C-6FC1-2BE3-F075A3F6D45D}"/>
          </ac:spMkLst>
        </pc:spChg>
        <pc:picChg chg="add del mod">
          <ac:chgData name="Matthew Kumar" userId="0b09fd33-d61e-4b67-abe9-610466e419b0" providerId="ADAL" clId="{906835CB-D6CF-480A-BDB8-E5C50933DDEE}" dt="2025-06-10T00:10:11.937" v="3245" actId="478"/>
          <ac:picMkLst>
            <pc:docMk/>
            <pc:sldMk cId="1752190332" sldId="274"/>
            <ac:picMk id="4" creationId="{26BD4C39-C8F0-8A65-BD2E-69E187A8AA3C}"/>
          </ac:picMkLst>
        </pc:picChg>
        <pc:picChg chg="add del mod">
          <ac:chgData name="Matthew Kumar" userId="0b09fd33-d61e-4b67-abe9-610466e419b0" providerId="ADAL" clId="{906835CB-D6CF-480A-BDB8-E5C50933DDEE}" dt="2025-06-10T00:12:17.544" v="3257" actId="478"/>
          <ac:picMkLst>
            <pc:docMk/>
            <pc:sldMk cId="1752190332" sldId="274"/>
            <ac:picMk id="6" creationId="{81247308-80CA-731E-88F3-DCEB62E0DE44}"/>
          </ac:picMkLst>
        </pc:picChg>
        <pc:picChg chg="add del mod">
          <ac:chgData name="Matthew Kumar" userId="0b09fd33-d61e-4b67-abe9-610466e419b0" providerId="ADAL" clId="{906835CB-D6CF-480A-BDB8-E5C50933DDEE}" dt="2025-06-10T00:12:19.359" v="3258" actId="478"/>
          <ac:picMkLst>
            <pc:docMk/>
            <pc:sldMk cId="1752190332" sldId="274"/>
            <ac:picMk id="8" creationId="{0723B625-D4F8-8D07-1E06-D788D499C64F}"/>
          </ac:picMkLst>
        </pc:picChg>
        <pc:picChg chg="del">
          <ac:chgData name="Matthew Kumar" userId="0b09fd33-d61e-4b67-abe9-610466e419b0" providerId="ADAL" clId="{906835CB-D6CF-480A-BDB8-E5C50933DDEE}" dt="2025-06-10T00:09:03.748" v="3236" actId="478"/>
          <ac:picMkLst>
            <pc:docMk/>
            <pc:sldMk cId="1752190332" sldId="274"/>
            <ac:picMk id="10" creationId="{2431A5DC-9C29-9E07-AB04-73467792CAFC}"/>
          </ac:picMkLst>
        </pc:picChg>
        <pc:picChg chg="add del mod">
          <ac:chgData name="Matthew Kumar" userId="0b09fd33-d61e-4b67-abe9-610466e419b0" providerId="ADAL" clId="{906835CB-D6CF-480A-BDB8-E5C50933DDEE}" dt="2025-06-10T00:23:18.793" v="3651" actId="478"/>
          <ac:picMkLst>
            <pc:docMk/>
            <pc:sldMk cId="1752190332" sldId="274"/>
            <ac:picMk id="11" creationId="{187A9CEF-A18E-9DCB-67B9-3475D22CDD08}"/>
          </ac:picMkLst>
        </pc:picChg>
        <pc:picChg chg="add del mod">
          <ac:chgData name="Matthew Kumar" userId="0b09fd33-d61e-4b67-abe9-610466e419b0" providerId="ADAL" clId="{906835CB-D6CF-480A-BDB8-E5C50933DDEE}" dt="2025-06-10T00:13:09.098" v="3267" actId="478"/>
          <ac:picMkLst>
            <pc:docMk/>
            <pc:sldMk cId="1752190332" sldId="274"/>
            <ac:picMk id="13" creationId="{E1F0817D-34F1-93CD-EC8B-32D49C4A99B4}"/>
          </ac:picMkLst>
        </pc:picChg>
        <pc:picChg chg="add del mod">
          <ac:chgData name="Matthew Kumar" userId="0b09fd33-d61e-4b67-abe9-610466e419b0" providerId="ADAL" clId="{906835CB-D6CF-480A-BDB8-E5C50933DDEE}" dt="2025-06-10T00:22:52.319" v="3643" actId="478"/>
          <ac:picMkLst>
            <pc:docMk/>
            <pc:sldMk cId="1752190332" sldId="274"/>
            <ac:picMk id="15" creationId="{7DA19DCB-4E2A-A8DA-195C-640D64D55A75}"/>
          </ac:picMkLst>
        </pc:picChg>
        <pc:picChg chg="add del mod">
          <ac:chgData name="Matthew Kumar" userId="0b09fd33-d61e-4b67-abe9-610466e419b0" providerId="ADAL" clId="{906835CB-D6CF-480A-BDB8-E5C50933DDEE}" dt="2025-06-10T00:22:58.280" v="3646" actId="478"/>
          <ac:picMkLst>
            <pc:docMk/>
            <pc:sldMk cId="1752190332" sldId="274"/>
            <ac:picMk id="23" creationId="{5EC278FA-7391-15F9-F88E-B9ED33CC9B99}"/>
          </ac:picMkLst>
        </pc:picChg>
        <pc:picChg chg="add mod">
          <ac:chgData name="Matthew Kumar" userId="0b09fd33-d61e-4b67-abe9-610466e419b0" providerId="ADAL" clId="{906835CB-D6CF-480A-BDB8-E5C50933DDEE}" dt="2025-06-10T00:40:03.014" v="4714" actId="1076"/>
          <ac:picMkLst>
            <pc:docMk/>
            <pc:sldMk cId="1752190332" sldId="274"/>
            <ac:picMk id="25" creationId="{150959A2-DB11-D7EB-069D-D1CFD05CF4D4}"/>
          </ac:picMkLst>
        </pc:picChg>
        <pc:picChg chg="add mod ord">
          <ac:chgData name="Matthew Kumar" userId="0b09fd33-d61e-4b67-abe9-610466e419b0" providerId="ADAL" clId="{906835CB-D6CF-480A-BDB8-E5C50933DDEE}" dt="2025-06-10T00:40:06.733" v="4715" actId="1076"/>
          <ac:picMkLst>
            <pc:docMk/>
            <pc:sldMk cId="1752190332" sldId="274"/>
            <ac:picMk id="27" creationId="{FE2202B1-1D67-6300-DDF8-C45EE2F4A94E}"/>
          </ac:picMkLst>
        </pc:picChg>
        <pc:picChg chg="add del">
          <ac:chgData name="Matthew Kumar" userId="0b09fd33-d61e-4b67-abe9-610466e419b0" providerId="ADAL" clId="{906835CB-D6CF-480A-BDB8-E5C50933DDEE}" dt="2025-06-10T00:24:34.382" v="3661" actId="22"/>
          <ac:picMkLst>
            <pc:docMk/>
            <pc:sldMk cId="1752190332" sldId="274"/>
            <ac:picMk id="29" creationId="{79F0AF8E-F32C-B802-0B43-0CE2B8574AAD}"/>
          </ac:picMkLst>
        </pc:picChg>
      </pc:sldChg>
      <pc:sldChg chg="addSp modSp add mod">
        <pc:chgData name="Matthew Kumar" userId="0b09fd33-d61e-4b67-abe9-610466e419b0" providerId="ADAL" clId="{906835CB-D6CF-480A-BDB8-E5C50933DDEE}" dt="2025-06-10T11:01:03.594" v="5189" actId="1076"/>
        <pc:sldMkLst>
          <pc:docMk/>
          <pc:sldMk cId="626239212" sldId="275"/>
        </pc:sldMkLst>
        <pc:spChg chg="add mod">
          <ac:chgData name="Matthew Kumar" userId="0b09fd33-d61e-4b67-abe9-610466e419b0" providerId="ADAL" clId="{906835CB-D6CF-480A-BDB8-E5C50933DDEE}" dt="2025-06-10T11:00:40.043" v="5184" actId="14100"/>
          <ac:spMkLst>
            <pc:docMk/>
            <pc:sldMk cId="626239212" sldId="275"/>
            <ac:spMk id="2" creationId="{C443672F-3640-9E55-5D34-873360DE2813}"/>
          </ac:spMkLst>
        </pc:spChg>
        <pc:spChg chg="mod">
          <ac:chgData name="Matthew Kumar" userId="0b09fd33-d61e-4b67-abe9-610466e419b0" providerId="ADAL" clId="{906835CB-D6CF-480A-BDB8-E5C50933DDEE}" dt="2025-06-10T00:48:37.583" v="4906" actId="20577"/>
          <ac:spMkLst>
            <pc:docMk/>
            <pc:sldMk cId="626239212" sldId="275"/>
            <ac:spMk id="3" creationId="{00000000-0000-0000-0000-000000000000}"/>
          </ac:spMkLst>
        </pc:spChg>
        <pc:spChg chg="add mod">
          <ac:chgData name="Matthew Kumar" userId="0b09fd33-d61e-4b67-abe9-610466e419b0" providerId="ADAL" clId="{906835CB-D6CF-480A-BDB8-E5C50933DDEE}" dt="2025-06-10T11:01:03.594" v="5189" actId="1076"/>
          <ac:spMkLst>
            <pc:docMk/>
            <pc:sldMk cId="626239212" sldId="275"/>
            <ac:spMk id="4" creationId="{58FFC407-D00D-4E20-E213-B3E241FACC58}"/>
          </ac:spMkLst>
        </pc:spChg>
        <pc:spChg chg="add mod">
          <ac:chgData name="Matthew Kumar" userId="0b09fd33-d61e-4b67-abe9-610466e419b0" providerId="ADAL" clId="{906835CB-D6CF-480A-BDB8-E5C50933DDEE}" dt="2025-06-10T00:16:14.529" v="3393" actId="1076"/>
          <ac:spMkLst>
            <pc:docMk/>
            <pc:sldMk cId="626239212" sldId="275"/>
            <ac:spMk id="5" creationId="{DDBF3ECE-7303-7F97-3172-A30751BF3742}"/>
          </ac:spMkLst>
        </pc:spChg>
        <pc:spChg chg="add mod">
          <ac:chgData name="Matthew Kumar" userId="0b09fd33-d61e-4b67-abe9-610466e419b0" providerId="ADAL" clId="{906835CB-D6CF-480A-BDB8-E5C50933DDEE}" dt="2025-06-10T00:16:27.230" v="3395" actId="1076"/>
          <ac:spMkLst>
            <pc:docMk/>
            <pc:sldMk cId="626239212" sldId="275"/>
            <ac:spMk id="7" creationId="{B2CB12EC-E3FB-76BD-DA84-765A9FC57541}"/>
          </ac:spMkLst>
        </pc:spChg>
      </pc:sldChg>
      <pc:sldChg chg="addSp delSp modSp add mod ord">
        <pc:chgData name="Matthew Kumar" userId="0b09fd33-d61e-4b67-abe9-610466e419b0" providerId="ADAL" clId="{906835CB-D6CF-480A-BDB8-E5C50933DDEE}" dt="2025-06-10T11:07:19.104" v="5216" actId="20577"/>
        <pc:sldMkLst>
          <pc:docMk/>
          <pc:sldMk cId="2029160044" sldId="276"/>
        </pc:sldMkLst>
        <pc:spChg chg="del">
          <ac:chgData name="Matthew Kumar" userId="0b09fd33-d61e-4b67-abe9-610466e419b0" providerId="ADAL" clId="{906835CB-D6CF-480A-BDB8-E5C50933DDEE}" dt="2025-06-10T00:44:56.767" v="4752" actId="478"/>
          <ac:spMkLst>
            <pc:docMk/>
            <pc:sldMk cId="2029160044" sldId="276"/>
            <ac:spMk id="2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10T03:11:35.611" v="5144" actId="20577"/>
          <ac:spMkLst>
            <pc:docMk/>
            <pc:sldMk cId="2029160044" sldId="276"/>
            <ac:spMk id="3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10T11:07:19.104" v="5216" actId="20577"/>
          <ac:spMkLst>
            <pc:docMk/>
            <pc:sldMk cId="2029160044" sldId="276"/>
            <ac:spMk id="4" creationId="{00000000-0000-0000-0000-000000000000}"/>
          </ac:spMkLst>
        </pc:spChg>
        <pc:spChg chg="add mod ord">
          <ac:chgData name="Matthew Kumar" userId="0b09fd33-d61e-4b67-abe9-610466e419b0" providerId="ADAL" clId="{906835CB-D6CF-480A-BDB8-E5C50933DDEE}" dt="2025-06-10T00:37:21.040" v="4590" actId="1076"/>
          <ac:spMkLst>
            <pc:docMk/>
            <pc:sldMk cId="2029160044" sldId="276"/>
            <ac:spMk id="5" creationId="{659E8E4A-721C-3E8A-3EBC-775602286C74}"/>
          </ac:spMkLst>
        </pc:spChg>
        <pc:spChg chg="add del mod">
          <ac:chgData name="Matthew Kumar" userId="0b09fd33-d61e-4b67-abe9-610466e419b0" providerId="ADAL" clId="{906835CB-D6CF-480A-BDB8-E5C50933DDEE}" dt="2025-06-10T00:44:59.906" v="4753" actId="478"/>
          <ac:spMkLst>
            <pc:docMk/>
            <pc:sldMk cId="2029160044" sldId="276"/>
            <ac:spMk id="7" creationId="{15A5ECBC-8D0F-75F8-9520-130AF344785B}"/>
          </ac:spMkLst>
        </pc:spChg>
      </pc:sldChg>
      <pc:sldChg chg="add del">
        <pc:chgData name="Matthew Kumar" userId="0b09fd33-d61e-4b67-abe9-610466e419b0" providerId="ADAL" clId="{906835CB-D6CF-480A-BDB8-E5C50933DDEE}" dt="2025-06-10T00:52:57.037" v="5052" actId="47"/>
        <pc:sldMkLst>
          <pc:docMk/>
          <pc:sldMk cId="4135569868" sldId="277"/>
        </pc:sldMkLst>
      </pc:sldChg>
      <pc:sldChg chg="addSp delSp modSp add mod">
        <pc:chgData name="Matthew Kumar" userId="0b09fd33-d61e-4b67-abe9-610466e419b0" providerId="ADAL" clId="{906835CB-D6CF-480A-BDB8-E5C50933DDEE}" dt="2025-06-10T11:05:49.757" v="5207" actId="5793"/>
        <pc:sldMkLst>
          <pc:docMk/>
          <pc:sldMk cId="2668231789" sldId="278"/>
        </pc:sldMkLst>
        <pc:spChg chg="add del mod">
          <ac:chgData name="Matthew Kumar" userId="0b09fd33-d61e-4b67-abe9-610466e419b0" providerId="ADAL" clId="{906835CB-D6CF-480A-BDB8-E5C50933DDEE}" dt="2025-06-10T11:01:59.239" v="5200" actId="478"/>
          <ac:spMkLst>
            <pc:docMk/>
            <pc:sldMk cId="2668231789" sldId="278"/>
            <ac:spMk id="4" creationId="{EBEB6AD7-950B-0EA8-1E54-759F9686BB73}"/>
          </ac:spMkLst>
        </pc:spChg>
        <pc:spChg chg="add mod">
          <ac:chgData name="Matthew Kumar" userId="0b09fd33-d61e-4b67-abe9-610466e419b0" providerId="ADAL" clId="{906835CB-D6CF-480A-BDB8-E5C50933DDEE}" dt="2025-06-10T11:05:49.757" v="5207" actId="5793"/>
          <ac:spMkLst>
            <pc:docMk/>
            <pc:sldMk cId="2668231789" sldId="278"/>
            <ac:spMk id="5" creationId="{F0D8C9CD-4705-E163-1B7C-58F02539E74E}"/>
          </ac:spMkLst>
        </pc:spChg>
        <pc:spChg chg="del">
          <ac:chgData name="Matthew Kumar" userId="0b09fd33-d61e-4b67-abe9-610466e419b0" providerId="ADAL" clId="{906835CB-D6CF-480A-BDB8-E5C50933DDEE}" dt="2025-06-10T11:01:56.193" v="5198" actId="478"/>
          <ac:spMkLst>
            <pc:docMk/>
            <pc:sldMk cId="2668231789" sldId="278"/>
            <ac:spMk id="6" creationId="{4B4B33DE-90FE-2ACD-0215-859921222EF7}"/>
          </ac:spMkLst>
        </pc:spChg>
      </pc:sldChg>
      <pc:sldChg chg="addSp delSp modSp add mod">
        <pc:chgData name="Matthew Kumar" userId="0b09fd33-d61e-4b67-abe9-610466e419b0" providerId="ADAL" clId="{906835CB-D6CF-480A-BDB8-E5C50933DDEE}" dt="2025-06-10T11:05:45.804" v="5206" actId="5793"/>
        <pc:sldMkLst>
          <pc:docMk/>
          <pc:sldMk cId="1258412570" sldId="279"/>
        </pc:sldMkLst>
        <pc:spChg chg="add del mod">
          <ac:chgData name="Matthew Kumar" userId="0b09fd33-d61e-4b67-abe9-610466e419b0" providerId="ADAL" clId="{906835CB-D6CF-480A-BDB8-E5C50933DDEE}" dt="2025-06-10T11:02:23.413" v="5204" actId="478"/>
          <ac:spMkLst>
            <pc:docMk/>
            <pc:sldMk cId="1258412570" sldId="279"/>
            <ac:spMk id="4" creationId="{DCDE9293-E3D2-2A5E-6D9A-DC0AB766716B}"/>
          </ac:spMkLst>
        </pc:spChg>
        <pc:spChg chg="add mod">
          <ac:chgData name="Matthew Kumar" userId="0b09fd33-d61e-4b67-abe9-610466e419b0" providerId="ADAL" clId="{906835CB-D6CF-480A-BDB8-E5C50933DDEE}" dt="2025-06-10T11:05:45.804" v="5206" actId="5793"/>
          <ac:spMkLst>
            <pc:docMk/>
            <pc:sldMk cId="1258412570" sldId="279"/>
            <ac:spMk id="5" creationId="{72BBC3DC-DC36-C37C-5D29-64B1F4574B3B}"/>
          </ac:spMkLst>
        </pc:spChg>
        <pc:spChg chg="del">
          <ac:chgData name="Matthew Kumar" userId="0b09fd33-d61e-4b67-abe9-610466e419b0" providerId="ADAL" clId="{906835CB-D6CF-480A-BDB8-E5C50933DDEE}" dt="2025-06-10T11:02:20.949" v="5202" actId="478"/>
          <ac:spMkLst>
            <pc:docMk/>
            <pc:sldMk cId="1258412570" sldId="279"/>
            <ac:spMk id="6" creationId="{4B4B33DE-90FE-2ACD-0215-859921222EF7}"/>
          </ac:spMkLst>
        </pc:spChg>
      </pc:sldChg>
      <pc:sldChg chg="modSp add mod ord">
        <pc:chgData name="Matthew Kumar" userId="0b09fd33-d61e-4b67-abe9-610466e419b0" providerId="ADAL" clId="{906835CB-D6CF-480A-BDB8-E5C50933DDEE}" dt="2025-06-10T00:53:11.758" v="5064" actId="1076"/>
        <pc:sldMkLst>
          <pc:docMk/>
          <pc:sldMk cId="992916149" sldId="280"/>
        </pc:sldMkLst>
        <pc:spChg chg="mod">
          <ac:chgData name="Matthew Kumar" userId="0b09fd33-d61e-4b67-abe9-610466e419b0" providerId="ADAL" clId="{906835CB-D6CF-480A-BDB8-E5C50933DDEE}" dt="2025-06-10T00:53:03.130" v="5062" actId="20577"/>
          <ac:spMkLst>
            <pc:docMk/>
            <pc:sldMk cId="992916149" sldId="280"/>
            <ac:spMk id="3" creationId="{00000000-0000-0000-0000-000000000000}"/>
          </ac:spMkLst>
        </pc:spChg>
        <pc:spChg chg="mod">
          <ac:chgData name="Matthew Kumar" userId="0b09fd33-d61e-4b67-abe9-610466e419b0" providerId="ADAL" clId="{906835CB-D6CF-480A-BDB8-E5C50933DDEE}" dt="2025-06-10T00:53:11.758" v="5064" actId="1076"/>
          <ac:spMkLst>
            <pc:docMk/>
            <pc:sldMk cId="992916149" sldId="280"/>
            <ac:spMk id="4" creationId="{00000000-0000-0000-0000-000000000000}"/>
          </ac:spMkLst>
        </pc:spChg>
      </pc:sldChg>
      <pc:sldChg chg="add del">
        <pc:chgData name="Matthew Kumar" userId="0b09fd33-d61e-4b67-abe9-610466e419b0" providerId="ADAL" clId="{906835CB-D6CF-480A-BDB8-E5C50933DDEE}" dt="2025-06-10T00:56:03.553" v="5072"/>
        <pc:sldMkLst>
          <pc:docMk/>
          <pc:sldMk cId="1818968262" sldId="28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9671310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/>
              <a:pPr/>
              <a:t>6/10/2025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9671310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9671310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41769" y="192454"/>
            <a:ext cx="364262" cy="364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e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/>
              <a:pPr/>
              <a:t>6/10/2025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98071" y="2056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8388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640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305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14="http://schemas.microsoft.com/office/drawing/2010/main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ACC3FA-741F-4DD7-A29C-E85845E74CE5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7423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 userDrawn="1">
          <p15:clr>
            <a:srgbClr val="FBAE40"/>
          </p15:clr>
        </p15:guide>
        <p15:guide id="2" pos="4134" userDrawn="1">
          <p15:clr>
            <a:srgbClr val="FBAE40"/>
          </p15:clr>
        </p15:guide>
        <p15:guide id="3" orient="horz" pos="2228" userDrawn="1">
          <p15:clr>
            <a:srgbClr val="FBAE40"/>
          </p15:clr>
        </p15:guide>
        <p15:guide id="4" orient="horz" pos="2455" userDrawn="1">
          <p15:clr>
            <a:srgbClr val="FBAE40"/>
          </p15:clr>
        </p15:guide>
        <p15:guide id="5" pos="619" userDrawn="1">
          <p15:clr>
            <a:srgbClr val="FBAE40"/>
          </p15:clr>
        </p15:guide>
        <p15:guide id="6" pos="7423" userDrawn="1">
          <p15:clr>
            <a:srgbClr val="FBAE40"/>
          </p15:clr>
        </p15:guide>
        <p15:guide id="7" orient="horz" pos="1094" userDrawn="1">
          <p15:clr>
            <a:srgbClr val="FBAE40"/>
          </p15:clr>
        </p15:guide>
        <p15:guide id="8" orient="horz" pos="408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B50E6-EFC3-4D55-B5FD-6C07B3F1809C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2493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4086" userDrawn="1">
          <p15:clr>
            <a:srgbClr val="FBAE40"/>
          </p15:clr>
        </p15:guide>
        <p15:guide id="4" orient="horz" pos="1094" userDrawn="1">
          <p15:clr>
            <a:srgbClr val="FBAE40"/>
          </p15:clr>
        </p15:guide>
        <p15:guide id="5" pos="2150" userDrawn="1">
          <p15:clr>
            <a:srgbClr val="FBAE40"/>
          </p15:clr>
        </p15:guide>
        <p15:guide id="6" pos="2376" userDrawn="1">
          <p15:clr>
            <a:srgbClr val="FBAE40"/>
          </p15:clr>
        </p15:guide>
        <p15:guide id="7" pos="3908" userDrawn="1">
          <p15:clr>
            <a:srgbClr val="FBAE40"/>
          </p15:clr>
        </p15:guide>
        <p15:guide id="8" pos="4021" userDrawn="1">
          <p15:clr>
            <a:srgbClr val="FBAE40"/>
          </p15:clr>
        </p15:guide>
        <p15:guide id="9" pos="4134" userDrawn="1">
          <p15:clr>
            <a:srgbClr val="FBAE40"/>
          </p15:clr>
        </p15:guide>
        <p15:guide id="10" pos="5667" userDrawn="1">
          <p15:clr>
            <a:srgbClr val="FBAE40"/>
          </p15:clr>
        </p15:guide>
        <p15:guide id="11" pos="5894" userDrawn="1">
          <p15:clr>
            <a:srgbClr val="FBAE40"/>
          </p15:clr>
        </p15:guide>
        <p15:guide id="13" orient="horz" pos="2704" userDrawn="1">
          <p15:clr>
            <a:srgbClr val="FBAE40"/>
          </p15:clr>
        </p15:guide>
        <p15:guide id="14" orient="horz" pos="2591" userDrawn="1">
          <p15:clr>
            <a:srgbClr val="FBAE40"/>
          </p15:clr>
        </p15:guide>
        <p15:guide id="15" orient="horz" pos="247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0EA7F3AE-922E-4A2E-A184-1A6BB453B592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211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704" userDrawn="1">
          <p15:clr>
            <a:srgbClr val="FBAE40"/>
          </p15:clr>
        </p15:guide>
        <p15:guide id="5" orient="horz" pos="2478" userDrawn="1">
          <p15:clr>
            <a:srgbClr val="FBAE40"/>
          </p15:clr>
        </p15:guide>
        <p15:guide id="6" orient="horz" pos="4086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  <p15:guide id="8" pos="2150" userDrawn="1">
          <p15:clr>
            <a:srgbClr val="FBAE40"/>
          </p15:clr>
        </p15:guide>
        <p15:guide id="9" pos="2376" userDrawn="1">
          <p15:clr>
            <a:srgbClr val="FBAE40"/>
          </p15:clr>
        </p15:guide>
        <p15:guide id="10" pos="3908" userDrawn="1">
          <p15:clr>
            <a:srgbClr val="FBAE40"/>
          </p15:clr>
        </p15:guide>
        <p15:guide id="11" pos="4021" userDrawn="1">
          <p15:clr>
            <a:srgbClr val="FBAE40"/>
          </p15:clr>
        </p15:guide>
        <p15:guide id="12" pos="4134" userDrawn="1">
          <p15:clr>
            <a:srgbClr val="FBAE40"/>
          </p15:clr>
        </p15:guide>
        <p15:guide id="13" pos="5667" userDrawn="1">
          <p15:clr>
            <a:srgbClr val="FBAE40"/>
          </p15:clr>
        </p15:guide>
        <p15:guide id="14" pos="589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F5D252DB-0ED2-464E-8741-6A8F1AFB279A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374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478" userDrawn="1">
          <p15:clr>
            <a:srgbClr val="FBAE40"/>
          </p15:clr>
        </p15:guide>
        <p15:guide id="5" orient="horz" pos="2591" userDrawn="1">
          <p15:clr>
            <a:srgbClr val="FBAE40"/>
          </p15:clr>
        </p15:guide>
        <p15:guide id="6" orient="horz" pos="2704" userDrawn="1">
          <p15:clr>
            <a:srgbClr val="FBAE40"/>
          </p15:clr>
        </p15:guide>
        <p15:guide id="7" orient="horz" pos="4085" userDrawn="1">
          <p15:clr>
            <a:srgbClr val="FBAE40"/>
          </p15:clr>
        </p15:guide>
        <p15:guide id="8" pos="2150" userDrawn="1">
          <p15:clr>
            <a:srgbClr val="FBAE40"/>
          </p15:clr>
        </p15:guide>
        <p15:guide id="9" pos="2376" userDrawn="1">
          <p15:clr>
            <a:srgbClr val="FBAE40"/>
          </p15:clr>
        </p15:guide>
        <p15:guide id="10" pos="3908" userDrawn="1">
          <p15:clr>
            <a:srgbClr val="FBAE40"/>
          </p15:clr>
        </p15:guide>
        <p15:guide id="11" pos="4021" userDrawn="1">
          <p15:clr>
            <a:srgbClr val="FBAE40"/>
          </p15:clr>
        </p15:guide>
        <p15:guide id="12" pos="4134" userDrawn="1">
          <p15:clr>
            <a:srgbClr val="FBAE40"/>
          </p15:clr>
        </p15:guide>
        <p15:guide id="14" pos="5667" userDrawn="1">
          <p15:clr>
            <a:srgbClr val="FBAE40"/>
          </p15:clr>
        </p15:guide>
        <p15:guide id="15" pos="58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F3B6FA-5BE5-423F-AE86-D3FCA9B0BA1B}" type="datetime1">
              <a:rPr lang="en-US"/>
              <a:t>6/1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2726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663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D65EF7-0DB8-46AD-91BA-1361F976A2E5}" type="datetime1">
              <a:rPr lang="en-US"/>
              <a:t>6/1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1075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1DAC8AC-69B9-434F-A771-029EB0ECF11E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5582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76CC04-5BC7-4D90-881D-F4830D1A1CA8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1881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804E57-7BF7-4369-9EB4-F1EAB6B023F9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76484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33C267-8000-477D-991A-6C15839D7000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417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DB9F33-836B-4915-B13C-79B01E209756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6729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FAAE86-FF76-44CC-A668-018373AE554F}" type="datetime1">
              <a:rPr lang="en-US"/>
              <a:t>6/1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296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 userDrawn="1">
          <p15:clr>
            <a:srgbClr val="FBAE40"/>
          </p15:clr>
        </p15:guide>
        <p15:guide id="2" orient="horz" pos="4086" userDrawn="1">
          <p15:clr>
            <a:srgbClr val="FBAE40"/>
          </p15:clr>
        </p15:guide>
        <p15:guide id="3" orient="horz" pos="1162" userDrawn="1">
          <p15:clr>
            <a:srgbClr val="FBAE40"/>
          </p15:clr>
        </p15:guide>
        <p15:guide id="4" pos="42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D638D7-8796-4CCC-8CE6-AEAD9E04E798}" type="datetime1">
              <a:rPr lang="en-US"/>
              <a:t>6/1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2297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80DD9-49B8-4603-936C-6A08F0541BA0}" type="datetime1">
              <a:rPr lang="en-US"/>
              <a:t>6/1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6893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7E0C7B-342B-4B60-BBFA-D89E1406DD42}" type="datetime1">
              <a:rPr lang="en-US"/>
              <a:t>6/1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5661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1794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4="http://schemas.microsoft.com/office/drawing/2010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C9A96C-B18F-4A61-9FE9-4BC0ED17C09C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5046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 userDrawn="1">
          <p15:clr>
            <a:srgbClr val="FBAE40"/>
          </p15:clr>
        </p15:guide>
        <p15:guide id="2" pos="4134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  <p15:guide id="5" pos="619" userDrawn="1">
          <p15:clr>
            <a:srgbClr val="FBAE40"/>
          </p15:clr>
        </p15:guide>
        <p15:guide id="7" pos="742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8E91F6B7-D9DD-40B9-8E0F-7B4E75E5DBFB}" type="datetime1">
              <a:rPr lang="en-US"/>
              <a:t>6/1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BA523F-6430-44A4-85ED-1EC70B1D97E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636250" y="6522720"/>
            <a:ext cx="1433513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r"/>
            <a:r>
              <a:rPr lang="de-DE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26956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  <p:sldLayoutId id="2147484355" r:id="rId2"/>
    <p:sldLayoutId id="2147484356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57" r:id="rId12"/>
    <p:sldLayoutId id="2147484358" r:id="rId13"/>
    <p:sldLayoutId id="2147484349" r:id="rId14"/>
    <p:sldLayoutId id="2147484350" r:id="rId15"/>
    <p:sldLayoutId id="2147484351" r:id="rId16"/>
    <p:sldLayoutId id="2147484352" r:id="rId17"/>
    <p:sldLayoutId id="2147484353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84="http://schemas.microsoft.com/office/powerpoint/2018/4/main" xmlns:p15="http://schemas.microsoft.com/office/powerpoint/2012/main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connect.acdc.int.bayer.com/mdm-adae/" TargetMode="External"/><Relationship Id="rId2" Type="http://schemas.openxmlformats.org/officeDocument/2006/relationships/hyperlink" Target="https://connect.acdc.int.bayer.com/mdm-adsl/" TargetMode="External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connect.acdc.int.bayer.com/mdm-adrs/" TargetMode="External"/><Relationship Id="rId4" Type="http://schemas.openxmlformats.org/officeDocument/2006/relationships/hyperlink" Target="https://connect.acdc.int.bayer.com/mdm-adtte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8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chatgpt.com/" TargetMode="Externa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phuse.s3.eu-central-1.amazonaws.com/Archive/2014/Connect/EU/London/PRE_PD08.pdf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DM 2025</a:t>
            </a:r>
            <a:endParaRPr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sz="2700" dirty="0"/>
              <a:t>SPA and Friends Hands-On Workshop: Chatting with your Dat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atthew Kumar</a:t>
            </a:r>
          </a:p>
          <a:p>
            <a:r>
              <a:rPr lang="en-US" dirty="0"/>
              <a:t>Kevin Dang</a:t>
            </a:r>
          </a:p>
          <a:p>
            <a:r>
              <a:rPr lang="en-US" dirty="0"/>
              <a:t>Michael Racanelli</a:t>
            </a:r>
          </a:p>
          <a:p>
            <a:endParaRPr lang="en-US" dirty="0"/>
          </a:p>
          <a:p>
            <a:r>
              <a:rPr lang="en-US" sz="900" dirty="0"/>
              <a:t>June 10, 2025</a:t>
            </a:r>
            <a:endParaRPr sz="900" dirty="0"/>
          </a:p>
        </p:txBody>
      </p:sp>
      <p:pic>
        <p:nvPicPr>
          <p:cNvPr id="5" name="Picture Placeholder 4" descr="title.jpg"/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12289" r="12289"/>
          <a:stretch>
            <a:fillRect/>
          </a:stretch>
        </p:blipFill>
        <p:spPr/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59E8E4A-721C-3E8A-3EBC-775602286C74}"/>
              </a:ext>
            </a:extLst>
          </p:cNvPr>
          <p:cNvSpPr/>
          <p:nvPr/>
        </p:nvSpPr>
        <p:spPr bwMode="gray">
          <a:xfrm>
            <a:off x="727022" y="3189216"/>
            <a:ext cx="11205148" cy="294931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ercise: Open Format Exploration</a:t>
            </a:r>
            <a:endParaRPr b="1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981821" y="1379342"/>
            <a:ext cx="10890389" cy="1536471"/>
          </a:xfrm>
        </p:spPr>
        <p:txBody>
          <a:bodyPr/>
          <a:lstStyle/>
          <a:p>
            <a:r>
              <a:rPr dirty="0">
                <a:latin typeface="+mj-lt"/>
              </a:rPr>
              <a:t>🔍 </a:t>
            </a:r>
            <a:r>
              <a:rPr lang="en-US" dirty="0">
                <a:latin typeface="+mj-lt"/>
              </a:rPr>
              <a:t>Investigate</a:t>
            </a:r>
            <a:r>
              <a:rPr dirty="0">
                <a:latin typeface="+mj-lt"/>
              </a:rPr>
              <a:t> - Get comfortable with AI chat interfaces</a:t>
            </a:r>
            <a:r>
              <a:rPr lang="en-US" dirty="0">
                <a:latin typeface="+mj-lt"/>
              </a:rPr>
              <a:t>, build intuition and experience</a:t>
            </a:r>
            <a:endParaRPr dirty="0">
              <a:latin typeface="+mj-lt"/>
            </a:endParaRPr>
          </a:p>
          <a:p>
            <a:r>
              <a:rPr dirty="0">
                <a:latin typeface="+mj-lt"/>
              </a:rPr>
              <a:t>🕳️ Dig Deeper - Ask </a:t>
            </a:r>
            <a:r>
              <a:rPr lang="en-US" dirty="0">
                <a:latin typeface="+mj-lt"/>
              </a:rPr>
              <a:t>basic </a:t>
            </a:r>
            <a:r>
              <a:rPr dirty="0">
                <a:latin typeface="+mj-lt"/>
              </a:rPr>
              <a:t>questions, </a:t>
            </a:r>
            <a:r>
              <a:rPr lang="en-US" dirty="0">
                <a:latin typeface="+mj-lt"/>
              </a:rPr>
              <a:t>build up to complex ones, </a:t>
            </a:r>
            <a:r>
              <a:rPr dirty="0">
                <a:latin typeface="+mj-lt"/>
              </a:rPr>
              <a:t>find </a:t>
            </a:r>
            <a:r>
              <a:rPr lang="en-US" dirty="0">
                <a:latin typeface="+mj-lt"/>
              </a:rPr>
              <a:t>insights, use domain expertise! </a:t>
            </a:r>
            <a:endParaRPr dirty="0">
              <a:latin typeface="+mj-lt"/>
            </a:endParaRPr>
          </a:p>
          <a:p>
            <a:r>
              <a:rPr lang="en-US" dirty="0">
                <a:latin typeface="+mj-lt"/>
              </a:rPr>
              <a:t> 🎯 </a:t>
            </a:r>
            <a:r>
              <a:rPr dirty="0">
                <a:latin typeface="+mj-lt"/>
              </a:rPr>
              <a:t>Apply - Use insights to </a:t>
            </a:r>
            <a:r>
              <a:rPr lang="en-US" dirty="0">
                <a:latin typeface="+mj-lt"/>
              </a:rPr>
              <a:t>understand</a:t>
            </a:r>
            <a:r>
              <a:rPr dirty="0">
                <a:latin typeface="+mj-lt"/>
              </a:rPr>
              <a:t> </a:t>
            </a:r>
            <a:r>
              <a:rPr lang="en-US" dirty="0">
                <a:latin typeface="+mj-lt"/>
              </a:rPr>
              <a:t>and solve </a:t>
            </a:r>
            <a:r>
              <a:rPr dirty="0">
                <a:latin typeface="+mj-lt"/>
              </a:rPr>
              <a:t>real problems</a:t>
            </a:r>
            <a:endParaRPr lang="en-US" dirty="0">
              <a:latin typeface="+mj-lt"/>
              <a:cs typeface="Times New Roman" panose="02020603050405020304" pitchFamily="18" charset="0"/>
            </a:endParaRPr>
          </a:p>
          <a:p>
            <a:endParaRPr lang="en-US" dirty="0"/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Be prepared to share at least one experience related to these themes in the open discussion: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  <a:p>
            <a:pPr marL="342900" indent="-342900">
              <a:buAutoNum type="arabicParenR"/>
            </a:pPr>
            <a:r>
              <a:rPr lang="en-US" b="1" dirty="0">
                <a:solidFill>
                  <a:schemeClr val="accent2"/>
                </a:solidFill>
              </a:rPr>
              <a:t>What worked well:</a:t>
            </a:r>
            <a:r>
              <a:rPr lang="en-US" dirty="0">
                <a:solidFill>
                  <a:schemeClr val="accent2"/>
                </a:solidFill>
              </a:rPr>
              <a:t> What did you find?  What surprised you? Find something cool? Examples</a:t>
            </a:r>
          </a:p>
          <a:p>
            <a:pPr marL="342900" indent="-342900">
              <a:buAutoNum type="arabicParenR"/>
            </a:pPr>
            <a:r>
              <a:rPr lang="en-US" b="1" dirty="0">
                <a:solidFill>
                  <a:schemeClr val="tx2"/>
                </a:solidFill>
              </a:rPr>
              <a:t>What didn’t work so well:</a:t>
            </a:r>
            <a:r>
              <a:rPr lang="en-US" dirty="0">
                <a:solidFill>
                  <a:schemeClr val="tx2"/>
                </a:solidFill>
              </a:rPr>
              <a:t> Where did AI have an issue? Or the app? Examples</a:t>
            </a:r>
          </a:p>
          <a:p>
            <a:pPr marL="342900" indent="-342900">
              <a:buAutoNum type="arabicParenR"/>
            </a:pPr>
            <a:r>
              <a:rPr lang="en-US" b="1" dirty="0">
                <a:solidFill>
                  <a:schemeClr val="accent4"/>
                </a:solidFill>
              </a:rPr>
              <a:t>Future-focused</a:t>
            </a:r>
            <a:r>
              <a:rPr lang="en-US" dirty="0">
                <a:solidFill>
                  <a:schemeClr val="accent4"/>
                </a:solidFill>
              </a:rPr>
              <a:t>: How do you envision AI transforming parts of your current tasks? Examples</a:t>
            </a:r>
          </a:p>
          <a:p>
            <a:endParaRPr lang="en-US" i="1" dirty="0"/>
          </a:p>
          <a:p>
            <a:r>
              <a:rPr lang="en-US" i="1" dirty="0"/>
              <a:t>		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91600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pp Links 🌍</a:t>
            </a:r>
            <a:endParaRPr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8D6339-00D5-4661-7A97-5BFCE4A74400}"/>
              </a:ext>
            </a:extLst>
          </p:cNvPr>
          <p:cNvSpPr txBox="1"/>
          <p:nvPr/>
        </p:nvSpPr>
        <p:spPr bwMode="gray">
          <a:xfrm>
            <a:off x="2864995" y="5489429"/>
            <a:ext cx="67811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cs typeface="Times New Roman" panose="02020603050405020304" pitchFamily="18" charset="0"/>
              </a:rPr>
              <a:t>- 🧪 Experiment </a:t>
            </a:r>
            <a:r>
              <a:rPr lang="en-US" b="1" dirty="0">
                <a:cs typeface="Times New Roman" panose="02020603050405020304" pitchFamily="18" charset="0"/>
              </a:rPr>
              <a:t>boldly</a:t>
            </a:r>
            <a:r>
              <a:rPr lang="en-US" dirty="0">
                <a:cs typeface="Times New Roman" panose="02020603050405020304" pitchFamily="18" charset="0"/>
              </a:rPr>
              <a:t> - there's no wrong way to explore</a:t>
            </a:r>
          </a:p>
          <a:p>
            <a:r>
              <a:rPr lang="en-US" dirty="0">
                <a:cs typeface="Times New Roman" panose="02020603050405020304" pitchFamily="18" charset="0"/>
              </a:rPr>
              <a:t>- 🤝 Ask for help - we're here to support you</a:t>
            </a:r>
          </a:p>
          <a:p>
            <a:r>
              <a:rPr lang="en-US" dirty="0">
                <a:cs typeface="Times New Roman" panose="02020603050405020304" pitchFamily="18" charset="0"/>
              </a:rPr>
              <a:t>- 🎯 Focus on the journey - </a:t>
            </a:r>
            <a:r>
              <a:rPr lang="en-US" i="1" dirty="0">
                <a:cs typeface="Times New Roman" panose="02020603050405020304" pitchFamily="18" charset="0"/>
              </a:rPr>
              <a:t>how</a:t>
            </a:r>
            <a:r>
              <a:rPr lang="en-US" dirty="0">
                <a:cs typeface="Times New Roman" panose="02020603050405020304" pitchFamily="18" charset="0"/>
              </a:rPr>
              <a:t> you get answers matt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FCDFA4-80C5-6646-7D48-2850A5376639}"/>
              </a:ext>
            </a:extLst>
          </p:cNvPr>
          <p:cNvSpPr txBox="1"/>
          <p:nvPr/>
        </p:nvSpPr>
        <p:spPr bwMode="gray">
          <a:xfrm>
            <a:off x="3447399" y="1475835"/>
            <a:ext cx="6198771" cy="23198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3200" b="1" dirty="0"/>
              <a:t>🔗ADSL: </a:t>
            </a:r>
            <a:r>
              <a:rPr lang="en-US" sz="3200" b="1" dirty="0">
                <a:hlinkClick r:id="rId2"/>
              </a:rPr>
              <a:t>go/</a:t>
            </a:r>
            <a:r>
              <a:rPr lang="en-US" sz="3200" b="1" dirty="0" err="1">
                <a:hlinkClick r:id="rId2"/>
              </a:rPr>
              <a:t>mdm-adsl</a:t>
            </a:r>
            <a:endParaRPr lang="en-US" sz="3200" b="1" dirty="0"/>
          </a:p>
          <a:p>
            <a:endParaRPr lang="en-US" sz="3200" b="1" dirty="0"/>
          </a:p>
          <a:p>
            <a:r>
              <a:rPr lang="en-US" sz="3200" b="1" dirty="0"/>
              <a:t>🔗ADAE: </a:t>
            </a:r>
            <a:r>
              <a:rPr lang="en-US" sz="3200" b="1" dirty="0">
                <a:hlinkClick r:id="rId3"/>
              </a:rPr>
              <a:t>go/</a:t>
            </a:r>
            <a:r>
              <a:rPr lang="en-US" sz="3200" b="1" dirty="0" err="1">
                <a:hlinkClick r:id="rId3"/>
              </a:rPr>
              <a:t>mdm-adae</a:t>
            </a:r>
            <a:endParaRPr lang="en-US" sz="3200" b="1" dirty="0"/>
          </a:p>
          <a:p>
            <a:endParaRPr lang="en-US" sz="3200" b="1" dirty="0"/>
          </a:p>
          <a:p>
            <a:r>
              <a:rPr lang="en-US" sz="3200" b="1" dirty="0"/>
              <a:t>🔗ADTTE: </a:t>
            </a:r>
            <a:r>
              <a:rPr lang="en-US" sz="3200" b="1" dirty="0">
                <a:hlinkClick r:id="rId4"/>
              </a:rPr>
              <a:t>go/</a:t>
            </a:r>
            <a:r>
              <a:rPr lang="en-US" sz="3200" b="1" dirty="0" err="1">
                <a:hlinkClick r:id="rId4"/>
              </a:rPr>
              <a:t>mdm-adtte</a:t>
            </a:r>
            <a:endParaRPr lang="en-US" sz="3200" b="1" dirty="0"/>
          </a:p>
          <a:p>
            <a:endParaRPr lang="en-US" sz="3200" b="1" dirty="0"/>
          </a:p>
          <a:p>
            <a:r>
              <a:rPr lang="en-US" sz="3200" b="1" dirty="0"/>
              <a:t>🔗ADRS: </a:t>
            </a:r>
            <a:r>
              <a:rPr lang="en-US" sz="3200" b="1" dirty="0">
                <a:hlinkClick r:id="rId5"/>
              </a:rPr>
              <a:t>go/</a:t>
            </a:r>
            <a:r>
              <a:rPr lang="en-US" sz="3200" b="1" dirty="0" err="1">
                <a:hlinkClick r:id="rId5"/>
              </a:rPr>
              <a:t>mdm-adrs</a:t>
            </a:r>
            <a:endParaRPr lang="en-US" sz="3200" b="1" dirty="0"/>
          </a:p>
          <a:p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Was It?</a:t>
            </a:r>
            <a:endParaRPr b="1" dirty="0"/>
          </a:p>
        </p:txBody>
      </p:sp>
      <p:pic>
        <p:nvPicPr>
          <p:cNvPr id="2052" name="Picture 4" descr="r/Xennials - John Connor watching y'all make friends with Al">
            <a:extLst>
              <a:ext uri="{FF2B5EF4-FFF2-40B4-BE49-F238E27FC236}">
                <a16:creationId xmlns:a16="http://schemas.microsoft.com/office/drawing/2014/main" id="{3BFDE6CE-9BB7-FC28-D829-7C6E1BD809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350" y="1728501"/>
            <a:ext cx="4374936" cy="3937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Terminator 2 Judgement Day - The New &amp; Improved T-800 Endoskeleton Puppets  | Stan Winston School of Character Arts">
            <a:extLst>
              <a:ext uri="{FF2B5EF4-FFF2-40B4-BE49-F238E27FC236}">
                <a16:creationId xmlns:a16="http://schemas.microsoft.com/office/drawing/2014/main" id="{043CE8A7-6113-FF28-AAD2-AB019C1F3E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4841" y="1582705"/>
            <a:ext cx="8953500" cy="4676775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57103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Discussion 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🗣</a:t>
            </a:r>
            <a:endParaRPr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B4B33DE-90FE-2ACD-0215-859921222EF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088330" y="1292671"/>
            <a:ext cx="11263317" cy="4392579"/>
          </a:xfrm>
        </p:spPr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What worked well:</a:t>
            </a:r>
            <a:r>
              <a:rPr lang="en-US" dirty="0">
                <a:solidFill>
                  <a:schemeClr val="accent2"/>
                </a:solidFill>
              </a:rPr>
              <a:t> What did you find?  What surprised you? Find something cool? Examples</a:t>
            </a:r>
          </a:p>
          <a:p>
            <a:r>
              <a:rPr lang="en-US" i="1" dirty="0"/>
              <a:t>Use Flipcharts in Room and take pictures for these slides</a:t>
            </a:r>
            <a:endParaRPr i="1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Discussion 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🗣</a:t>
            </a:r>
            <a:endParaRPr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F0D8C9CD-4705-E163-1B7C-58F02539E74E}"/>
              </a:ext>
            </a:extLst>
          </p:cNvPr>
          <p:cNvSpPr txBox="1">
            <a:spLocks/>
          </p:cNvSpPr>
          <p:nvPr/>
        </p:nvSpPr>
        <p:spPr bwMode="gray">
          <a:xfrm>
            <a:off x="1088330" y="1292671"/>
            <a:ext cx="11263317" cy="43925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2"/>
                </a:solidFill>
              </a:rPr>
              <a:t>What didn’t work so well:</a:t>
            </a:r>
            <a:r>
              <a:rPr lang="en-US" dirty="0">
                <a:solidFill>
                  <a:schemeClr val="tx2"/>
                </a:solidFill>
              </a:rPr>
              <a:t> Where did AI have an issue? Or the app? Examples</a:t>
            </a:r>
          </a:p>
          <a:p>
            <a:r>
              <a:rPr lang="en-US" i="1" dirty="0"/>
              <a:t>Use Flipcharts in Room and take pictures for these slides</a:t>
            </a:r>
          </a:p>
        </p:txBody>
      </p:sp>
    </p:spTree>
    <p:extLst>
      <p:ext uri="{BB962C8B-B14F-4D97-AF65-F5344CB8AC3E}">
        <p14:creationId xmlns:p14="http://schemas.microsoft.com/office/powerpoint/2010/main" val="26682317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Discussion 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🗣</a:t>
            </a:r>
            <a:endParaRPr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72BBC3DC-DC36-C37C-5D29-64B1F4574B3B}"/>
              </a:ext>
            </a:extLst>
          </p:cNvPr>
          <p:cNvSpPr txBox="1">
            <a:spLocks/>
          </p:cNvSpPr>
          <p:nvPr/>
        </p:nvSpPr>
        <p:spPr bwMode="gray">
          <a:xfrm>
            <a:off x="1088330" y="1292671"/>
            <a:ext cx="11263317" cy="43925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accent4"/>
                </a:solidFill>
              </a:rPr>
              <a:t>Future-focused</a:t>
            </a:r>
            <a:r>
              <a:rPr lang="en-US" dirty="0">
                <a:solidFill>
                  <a:schemeClr val="accent4"/>
                </a:solidFill>
              </a:rPr>
              <a:t>: How do you envision AI transforming parts of your current tasks? Examples</a:t>
            </a:r>
          </a:p>
          <a:p>
            <a:r>
              <a:rPr lang="en-US" i="1" dirty="0"/>
              <a:t>Use Flipcharts in Room and take pictures for these slides</a:t>
            </a:r>
          </a:p>
        </p:txBody>
      </p:sp>
    </p:spTree>
    <p:extLst>
      <p:ext uri="{BB962C8B-B14F-4D97-AF65-F5344CB8AC3E}">
        <p14:creationId xmlns:p14="http://schemas.microsoft.com/office/powerpoint/2010/main" val="12584125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DM 2025</a:t>
            </a:r>
            <a:endParaRPr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700" dirty="0"/>
              <a:t>Thank You!</a:t>
            </a:r>
            <a:endParaRPr sz="27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414398" y="3964522"/>
            <a:ext cx="2915519" cy="1080000"/>
          </a:xfrm>
        </p:spPr>
        <p:txBody>
          <a:bodyPr/>
          <a:lstStyle/>
          <a:p>
            <a:endParaRPr lang="en-US" dirty="0"/>
          </a:p>
          <a:p>
            <a:r>
              <a:rPr lang="en-US" sz="900" dirty="0"/>
              <a:t>June 10, 2025</a:t>
            </a:r>
            <a:endParaRPr sz="900" dirty="0"/>
          </a:p>
        </p:txBody>
      </p:sp>
      <p:pic>
        <p:nvPicPr>
          <p:cNvPr id="5" name="Picture Placeholder 4" descr="title.jpg"/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12289" r="1228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92916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Overview</a:t>
            </a:r>
            <a:endParaRPr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/>
              <a:t>Today's Schedule: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981819" y="1732751"/>
            <a:ext cx="10798461" cy="4751999"/>
          </a:xfrm>
        </p:spPr>
        <p:txBody>
          <a:bodyPr/>
          <a:lstStyle/>
          <a:p>
            <a:r>
              <a:rPr sz="2000" dirty="0"/>
              <a:t>🚀 Intro + Overview </a:t>
            </a:r>
            <a:r>
              <a:rPr lang="en-US" sz="2000" dirty="0"/>
              <a:t>					🕛</a:t>
            </a:r>
            <a:r>
              <a:rPr sz="2000" dirty="0"/>
              <a:t> 1:00pm – 1:1</a:t>
            </a:r>
            <a:r>
              <a:rPr lang="en-US" sz="2000" dirty="0"/>
              <a:t>0</a:t>
            </a:r>
            <a:r>
              <a:rPr sz="2000" dirty="0"/>
              <a:t>pm</a:t>
            </a:r>
          </a:p>
          <a:p>
            <a:r>
              <a:rPr lang="en-US" sz="2000" dirty="0"/>
              <a:t>👨‍💻 Hands-On Activity</a:t>
            </a:r>
            <a:r>
              <a:rPr sz="2000" dirty="0"/>
              <a:t> </a:t>
            </a:r>
            <a:r>
              <a:rPr lang="en-US" sz="2000" dirty="0"/>
              <a:t>					🕧 </a:t>
            </a:r>
            <a:r>
              <a:rPr sz="2000" dirty="0"/>
              <a:t>1:1</a:t>
            </a:r>
            <a:r>
              <a:rPr lang="en-US" sz="2000" dirty="0"/>
              <a:t>5</a:t>
            </a:r>
            <a:r>
              <a:rPr sz="2000" dirty="0"/>
              <a:t>pm – 3:</a:t>
            </a:r>
            <a:r>
              <a:rPr lang="en-US" sz="2000" dirty="0"/>
              <a:t>0</a:t>
            </a:r>
            <a:r>
              <a:rPr sz="2000" dirty="0"/>
              <a:t>0pm</a:t>
            </a:r>
          </a:p>
          <a:p>
            <a:r>
              <a:rPr sz="2000" dirty="0"/>
              <a:t>🎉 </a:t>
            </a:r>
            <a:r>
              <a:rPr lang="en-US" sz="2000" dirty="0"/>
              <a:t>Open Discussion              				🕐 </a:t>
            </a:r>
            <a:r>
              <a:rPr sz="2000" dirty="0"/>
              <a:t>3:</a:t>
            </a:r>
            <a:r>
              <a:rPr lang="en-US" sz="2000" dirty="0"/>
              <a:t>0</a:t>
            </a:r>
            <a:r>
              <a:rPr sz="2000" dirty="0"/>
              <a:t>0pm – </a:t>
            </a:r>
            <a:r>
              <a:rPr lang="en-US" sz="2000" dirty="0"/>
              <a:t>3</a:t>
            </a:r>
            <a:r>
              <a:rPr sz="2000" dirty="0"/>
              <a:t>:</a:t>
            </a:r>
            <a:r>
              <a:rPr lang="en-US" sz="2000" dirty="0"/>
              <a:t>30</a:t>
            </a:r>
            <a:r>
              <a:rPr sz="2000" dirty="0"/>
              <a:t>pm</a:t>
            </a:r>
            <a:endParaRPr lang="en-US" sz="2000" dirty="0"/>
          </a:p>
          <a:p>
            <a:r>
              <a:rPr lang="en-US" sz="2000" dirty="0"/>
              <a:t>🔂 Wrap Up (Overflow)					🕐 3:55pm – 4:00pm</a:t>
            </a:r>
            <a:endParaRPr sz="2000" dirty="0"/>
          </a:p>
          <a:p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amble:</a:t>
            </a:r>
            <a:endParaRPr b="1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13AA58-0C51-9C73-D061-86DCDAD2057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81819" y="1815853"/>
            <a:ext cx="10798461" cy="4751999"/>
          </a:xfrm>
        </p:spPr>
        <p:txBody>
          <a:bodyPr/>
          <a:lstStyle/>
          <a:p>
            <a:pPr algn="l"/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🚀 AI is Transforming….. Everything</a:t>
            </a:r>
          </a:p>
          <a:p>
            <a:pPr algn="l"/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🗣  Most are familiar with conversational AI (e.g., 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  <a:hlinkClick r:id="rId2"/>
              </a:rPr>
              <a:t>www.chatgpt.com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) for </a:t>
            </a:r>
            <a:r>
              <a:rPr lang="en-US" i="1" dirty="0">
                <a:solidFill>
                  <a:srgbClr val="000000"/>
                </a:solidFill>
                <a:effectLst/>
                <a:latin typeface="-apple-system"/>
              </a:rPr>
              <a:t>routine tasks</a:t>
            </a:r>
            <a:endParaRPr lang="en-US" i="0" dirty="0">
              <a:solidFill>
                <a:srgbClr val="000000"/>
              </a:solidFill>
              <a:effectLst/>
              <a:latin typeface="-apple-system"/>
            </a:endParaRPr>
          </a:p>
          <a:p>
            <a:pPr algn="l"/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🎯 Ability to enhance </a:t>
            </a:r>
            <a:r>
              <a:rPr lang="en-US" dirty="0">
                <a:solidFill>
                  <a:srgbClr val="000000"/>
                </a:solidFill>
                <a:latin typeface="-apple-system"/>
              </a:rPr>
              <a:t>p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roductivity and </a:t>
            </a:r>
            <a:r>
              <a:rPr lang="en-US" dirty="0">
                <a:solidFill>
                  <a:srgbClr val="000000"/>
                </a:solidFill>
                <a:latin typeface="-apple-system"/>
              </a:rPr>
              <a:t>e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fficiency </a:t>
            </a:r>
            <a:r>
              <a:rPr lang="en-US" i="1" dirty="0">
                <a:solidFill>
                  <a:srgbClr val="000000"/>
                </a:solidFill>
                <a:effectLst/>
                <a:latin typeface="-apple-system"/>
              </a:rPr>
              <a:t>in</a:t>
            </a:r>
            <a:r>
              <a:rPr lang="en-US" dirty="0">
                <a:solidFill>
                  <a:srgbClr val="000000"/>
                </a:solidFill>
                <a:effectLst/>
                <a:latin typeface="-apple-system"/>
              </a:rPr>
              <a:t> </a:t>
            </a:r>
            <a:r>
              <a:rPr lang="en-US" i="1" dirty="0">
                <a:solidFill>
                  <a:srgbClr val="000000"/>
                </a:solidFill>
                <a:effectLst/>
                <a:latin typeface="-apple-system"/>
              </a:rPr>
              <a:t>our actual day to day tasks</a:t>
            </a:r>
            <a:endParaRPr lang="en-US" i="1" dirty="0">
              <a:solidFill>
                <a:srgbClr val="000000"/>
              </a:solidFill>
              <a:latin typeface="-apple-system"/>
            </a:endParaRPr>
          </a:p>
          <a:p>
            <a:pPr algn="l"/>
            <a:r>
              <a:rPr lang="en-US" dirty="0">
                <a:solidFill>
                  <a:srgbClr val="000000"/>
                </a:solidFill>
                <a:effectLst/>
                <a:latin typeface="-apple-system"/>
              </a:rPr>
              <a:t>🚧</a:t>
            </a:r>
            <a:r>
              <a:rPr lang="en-US" i="1" dirty="0">
                <a:solidFill>
                  <a:srgbClr val="000000"/>
                </a:solidFill>
                <a:effectLst/>
                <a:latin typeface="-apple-system"/>
              </a:rPr>
              <a:t> </a:t>
            </a:r>
            <a:r>
              <a:rPr lang="en-US" dirty="0">
                <a:solidFill>
                  <a:srgbClr val="000000"/>
                </a:solidFill>
                <a:effectLst/>
                <a:latin typeface="-apple-system"/>
              </a:rPr>
              <a:t>Understand their limitations, risks and fit</a:t>
            </a:r>
            <a:endParaRPr lang="en-US" i="1" dirty="0">
              <a:solidFill>
                <a:srgbClr val="000000"/>
              </a:solidFill>
              <a:effectLst/>
              <a:latin typeface="-apple-system"/>
            </a:endParaRPr>
          </a:p>
          <a:p>
            <a:pPr algn="l"/>
            <a:endParaRPr lang="en-US" i="0" dirty="0">
              <a:solidFill>
                <a:srgbClr val="000000"/>
              </a:solidFill>
              <a:effectLst/>
              <a:latin typeface="-apple-system"/>
            </a:endParaRPr>
          </a:p>
          <a:p>
            <a:pPr algn="l"/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🔧 Like any </a:t>
            </a:r>
            <a:r>
              <a:rPr lang="en-US" i="1" dirty="0">
                <a:solidFill>
                  <a:srgbClr val="000000"/>
                </a:solidFill>
                <a:effectLst/>
                <a:latin typeface="-apple-system"/>
              </a:rPr>
              <a:t>new tool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, we must invest time to develop proficiency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💪 Build experience and intuition through </a:t>
            </a:r>
            <a:r>
              <a:rPr lang="en-US" dirty="0">
                <a:solidFill>
                  <a:srgbClr val="000000"/>
                </a:solidFill>
                <a:latin typeface="-apple-system"/>
              </a:rPr>
              <a:t>h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ands-on </a:t>
            </a:r>
            <a:r>
              <a:rPr lang="en-US" dirty="0">
                <a:solidFill>
                  <a:srgbClr val="000000"/>
                </a:solidFill>
                <a:latin typeface="-apple-system"/>
              </a:rPr>
              <a:t>e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xperimentation - </a:t>
            </a:r>
            <a:r>
              <a:rPr lang="en-US" b="1" dirty="0">
                <a:solidFill>
                  <a:srgbClr val="000000"/>
                </a:solidFill>
                <a:latin typeface="-apple-system"/>
              </a:rPr>
              <a:t>Today!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🧠 Apply and Extend Your Learnings – </a:t>
            </a:r>
            <a:r>
              <a:rPr lang="en-US" b="1" i="0" dirty="0">
                <a:solidFill>
                  <a:srgbClr val="000000"/>
                </a:solidFill>
                <a:effectLst/>
                <a:latin typeface="-apple-system"/>
              </a:rPr>
              <a:t>Near F</a:t>
            </a:r>
            <a:r>
              <a:rPr lang="en-US" b="1" dirty="0">
                <a:solidFill>
                  <a:srgbClr val="000000"/>
                </a:solidFill>
                <a:latin typeface="-apple-system"/>
              </a:rPr>
              <a:t>uture!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🌟 Embrace New Ways of Working - </a:t>
            </a:r>
            <a:r>
              <a:rPr lang="en-US" b="1" dirty="0">
                <a:solidFill>
                  <a:srgbClr val="000000"/>
                </a:solidFill>
                <a:latin typeface="-apple-system"/>
              </a:rPr>
              <a:t>Future!</a:t>
            </a:r>
          </a:p>
          <a:p>
            <a:pPr lvl="1" indent="0">
              <a:buNone/>
            </a:pPr>
            <a:endParaRPr lang="en-US" b="1" dirty="0">
              <a:solidFill>
                <a:srgbClr val="000000"/>
              </a:solidFill>
              <a:latin typeface="-apple-system"/>
            </a:endParaRPr>
          </a:p>
          <a:p>
            <a:pPr lvl="1" indent="0">
              <a:buNone/>
            </a:pPr>
            <a:endParaRPr lang="en-US" b="1" i="0" dirty="0">
              <a:solidFill>
                <a:srgbClr val="000000"/>
              </a:solidFill>
              <a:effectLst/>
              <a:latin typeface="-apple-system"/>
            </a:endParaRPr>
          </a:p>
          <a:p>
            <a:pPr algn="l"/>
            <a:endParaRPr lang="en-US" i="0" dirty="0">
              <a:solidFill>
                <a:srgbClr val="000000"/>
              </a:solidFill>
              <a:effectLst/>
              <a:latin typeface="-apple-system"/>
            </a:endParaRPr>
          </a:p>
          <a:p>
            <a:endParaRPr lang="en-US" dirty="0"/>
          </a:p>
        </p:txBody>
      </p:sp>
      <p:sp>
        <p:nvSpPr>
          <p:cNvPr id="7" name="Subtitle 1">
            <a:extLst>
              <a:ext uri="{FF2B5EF4-FFF2-40B4-BE49-F238E27FC236}">
                <a16:creationId xmlns:a16="http://schemas.microsoft.com/office/drawing/2014/main" id="{08FE058A-263B-489F-B242-B71FEB6E5B9E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 dirty="0"/>
              <a:t>Building AI Experience for the Future</a:t>
            </a:r>
            <a:endParaRPr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3"/>
          </p:nvPr>
        </p:nvSpPr>
        <p:spPr>
          <a:xfrm>
            <a:off x="981821" y="1138299"/>
            <a:ext cx="10798461" cy="252000"/>
          </a:xfrm>
        </p:spPr>
        <p:txBody>
          <a:bodyPr/>
          <a:lstStyle/>
          <a:p>
            <a:r>
              <a:rPr lang="en-US" dirty="0"/>
              <a:t>Stage Setting</a:t>
            </a:r>
            <a:endParaRPr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:</a:t>
            </a:r>
            <a:endParaRPr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A061E8-4627-5478-4CC7-18D6055DDE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661" y="2301964"/>
            <a:ext cx="4929873" cy="305513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8BDB25-60DB-4E86-50DE-0A3A5A19C4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2511" y="1687507"/>
            <a:ext cx="6682829" cy="428404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80FE81-8C8A-BBF3-2BD1-2A60F4BB1E2D}"/>
              </a:ext>
            </a:extLst>
          </p:cNvPr>
          <p:cNvSpPr txBox="1"/>
          <p:nvPr/>
        </p:nvSpPr>
        <p:spPr bwMode="gray">
          <a:xfrm>
            <a:off x="400050" y="6268762"/>
            <a:ext cx="2489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4"/>
              </a:rPr>
              <a:t>Link to Paper</a:t>
            </a:r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The Next Evolution?</a:t>
            </a:r>
            <a:endParaRPr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:</a:t>
            </a:r>
            <a:endParaRPr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329EE8-3BF4-D216-CD5C-2F35713F0F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8350" y="1735587"/>
            <a:ext cx="7954963" cy="450646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647733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Roll up your sleeves</a:t>
            </a:r>
            <a:endParaRPr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oday's Mission 🎯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👨🏼‍🔬 A “sandbox” application for you to experiment with AI has been setup!</a:t>
            </a:r>
          </a:p>
          <a:p>
            <a:r>
              <a:rPr lang="en-US" dirty="0"/>
              <a:t>💬 It will allow you to </a:t>
            </a:r>
            <a:r>
              <a:rPr lang="en-US" dirty="0">
                <a:solidFill>
                  <a:schemeClr val="tx2"/>
                </a:solidFill>
              </a:rPr>
              <a:t>chat</a:t>
            </a:r>
            <a:r>
              <a:rPr lang="en-US" dirty="0"/>
              <a:t> naturally </a:t>
            </a:r>
            <a:r>
              <a:rPr lang="en-US" u="sng" dirty="0"/>
              <a:t>and</a:t>
            </a:r>
            <a:r>
              <a:rPr lang="en-US" dirty="0"/>
              <a:t> </a:t>
            </a:r>
            <a:r>
              <a:rPr lang="en-US" dirty="0">
                <a:solidFill>
                  <a:schemeClr val="accent4"/>
                </a:solidFill>
              </a:rPr>
              <a:t>interact</a:t>
            </a:r>
            <a:r>
              <a:rPr lang="en-US" dirty="0"/>
              <a:t> with a few clinical trial data themes</a:t>
            </a:r>
          </a:p>
          <a:p>
            <a:r>
              <a:rPr lang="en-US" dirty="0"/>
              <a:t>	</a:t>
            </a:r>
            <a:r>
              <a:rPr lang="en-US" b="1" dirty="0"/>
              <a:t>- Patient Exploration</a:t>
            </a:r>
            <a:r>
              <a:rPr lang="en-US" dirty="0"/>
              <a:t>: ADSL</a:t>
            </a:r>
          </a:p>
          <a:p>
            <a:r>
              <a:rPr lang="en-US" dirty="0"/>
              <a:t>	</a:t>
            </a:r>
            <a:r>
              <a:rPr lang="en-US" b="1" dirty="0"/>
              <a:t>- Safety</a:t>
            </a:r>
            <a:r>
              <a:rPr lang="en-US" dirty="0"/>
              <a:t>: ADAE</a:t>
            </a:r>
          </a:p>
          <a:p>
            <a:r>
              <a:rPr lang="en-US" dirty="0"/>
              <a:t>	</a:t>
            </a:r>
            <a:r>
              <a:rPr lang="en-US" b="1" dirty="0"/>
              <a:t>-</a:t>
            </a:r>
            <a:r>
              <a:rPr lang="en-US" dirty="0"/>
              <a:t> </a:t>
            </a:r>
            <a:r>
              <a:rPr lang="en-US" b="1" dirty="0"/>
              <a:t>Efficacy</a:t>
            </a:r>
            <a:r>
              <a:rPr lang="en-US" dirty="0"/>
              <a:t>: ADTTE, ADRS</a:t>
            </a:r>
          </a:p>
          <a:p>
            <a:r>
              <a:rPr lang="en-US" dirty="0"/>
              <a:t>📊 Real data exploration and insights without the complexity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E0F3CF2-E06B-0087-233B-A95BC0873D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1866" y="1357174"/>
            <a:ext cx="10264833" cy="501455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95053" y="181938"/>
            <a:ext cx="10798460" cy="864000"/>
          </a:xfrm>
        </p:spPr>
        <p:txBody>
          <a:bodyPr/>
          <a:lstStyle/>
          <a:p>
            <a:r>
              <a:rPr lang="en-US" b="1" dirty="0"/>
              <a:t>Sandbox App </a:t>
            </a:r>
          </a:p>
        </p:txBody>
      </p:sp>
      <p:sp>
        <p:nvSpPr>
          <p:cNvPr id="11" name="Star: 5 Points 10">
            <a:extLst>
              <a:ext uri="{FF2B5EF4-FFF2-40B4-BE49-F238E27FC236}">
                <a16:creationId xmlns:a16="http://schemas.microsoft.com/office/drawing/2014/main" id="{B9B093BE-71D9-A06F-50C1-6C53D73FF986}"/>
              </a:ext>
            </a:extLst>
          </p:cNvPr>
          <p:cNvSpPr/>
          <p:nvPr/>
        </p:nvSpPr>
        <p:spPr bwMode="gray">
          <a:xfrm>
            <a:off x="380909" y="6071647"/>
            <a:ext cx="565150" cy="431800"/>
          </a:xfrm>
          <a:prstGeom prst="star5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1</a:t>
            </a:r>
          </a:p>
        </p:txBody>
      </p:sp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CAA2D644-732B-5AEC-6F97-23069882F797}"/>
              </a:ext>
            </a:extLst>
          </p:cNvPr>
          <p:cNvSpPr/>
          <p:nvPr/>
        </p:nvSpPr>
        <p:spPr bwMode="gray">
          <a:xfrm>
            <a:off x="4871336" y="2164864"/>
            <a:ext cx="565150" cy="431800"/>
          </a:xfrm>
          <a:prstGeom prst="star5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2</a:t>
            </a:r>
          </a:p>
        </p:txBody>
      </p:sp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42300D03-2CF3-42CC-F0E4-EE4A81B4AB4D}"/>
              </a:ext>
            </a:extLst>
          </p:cNvPr>
          <p:cNvSpPr/>
          <p:nvPr/>
        </p:nvSpPr>
        <p:spPr bwMode="gray">
          <a:xfrm>
            <a:off x="11508048" y="3934821"/>
            <a:ext cx="565150" cy="431800"/>
          </a:xfrm>
          <a:prstGeom prst="star5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3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9B4625E-6596-17F2-ACBA-FE884D9B5E0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957493" y="137583"/>
            <a:ext cx="3115705" cy="1080299"/>
          </a:xfrm>
        </p:spPr>
        <p:txBody>
          <a:bodyPr/>
          <a:lstStyle/>
          <a:p>
            <a:pPr marL="342900" indent="-342900">
              <a:buAutoNum type="arabicParenR"/>
            </a:pPr>
            <a:r>
              <a:rPr lang="en-US" sz="1200" b="1" dirty="0"/>
              <a:t>Chat Interface (sidebar)</a:t>
            </a:r>
          </a:p>
          <a:p>
            <a:pPr marL="342900" indent="-342900">
              <a:buAutoNum type="arabicParenR"/>
            </a:pPr>
            <a:r>
              <a:rPr lang="en-US" sz="1200" b="1" dirty="0"/>
              <a:t>An Interactive Data Table (filterable)</a:t>
            </a:r>
          </a:p>
          <a:p>
            <a:pPr marL="342900" indent="-342900">
              <a:buAutoNum type="arabicParenR"/>
            </a:pPr>
            <a:r>
              <a:rPr lang="en-US" sz="1200" b="1" dirty="0"/>
              <a:t>A few interactive visualizations</a:t>
            </a:r>
          </a:p>
        </p:txBody>
      </p:sp>
    </p:spTree>
    <p:extLst>
      <p:ext uri="{BB962C8B-B14F-4D97-AF65-F5344CB8AC3E}">
        <p14:creationId xmlns:p14="http://schemas.microsoft.com/office/powerpoint/2010/main" val="5298260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FE2202B1-1D67-6300-DDF8-C45EE2F4A9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2325" y="1513209"/>
            <a:ext cx="9061912" cy="460186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95053" y="181938"/>
            <a:ext cx="10798460" cy="864000"/>
          </a:xfrm>
        </p:spPr>
        <p:txBody>
          <a:bodyPr/>
          <a:lstStyle/>
          <a:p>
            <a:r>
              <a:rPr lang="en-US" b="1" dirty="0"/>
              <a:t>Sandbox App Filtering</a:t>
            </a:r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B09E5596-4983-046F-8124-B0F73D88AC8E}"/>
              </a:ext>
            </a:extLst>
          </p:cNvPr>
          <p:cNvSpPr/>
          <p:nvPr/>
        </p:nvSpPr>
        <p:spPr bwMode="gray">
          <a:xfrm>
            <a:off x="365426" y="2203709"/>
            <a:ext cx="259511" cy="191307"/>
          </a:xfrm>
          <a:prstGeom prst="star5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17" name="Star: 5 Points 16">
            <a:extLst>
              <a:ext uri="{FF2B5EF4-FFF2-40B4-BE49-F238E27FC236}">
                <a16:creationId xmlns:a16="http://schemas.microsoft.com/office/drawing/2014/main" id="{6E2A6FCC-1EFE-D7E2-1DE0-F7E1B7E5D627}"/>
              </a:ext>
            </a:extLst>
          </p:cNvPr>
          <p:cNvSpPr/>
          <p:nvPr/>
        </p:nvSpPr>
        <p:spPr bwMode="gray">
          <a:xfrm>
            <a:off x="11717914" y="3017559"/>
            <a:ext cx="259511" cy="191307"/>
          </a:xfrm>
          <a:prstGeom prst="star5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ED59B6E5-D582-6B23-1F6D-4B2C48199657}"/>
              </a:ext>
            </a:extLst>
          </p:cNvPr>
          <p:cNvSpPr/>
          <p:nvPr/>
        </p:nvSpPr>
        <p:spPr bwMode="gray">
          <a:xfrm>
            <a:off x="5611034" y="2108055"/>
            <a:ext cx="259511" cy="191307"/>
          </a:xfrm>
          <a:prstGeom prst="star5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19" name="Star: 5 Points 18">
            <a:extLst>
              <a:ext uri="{FF2B5EF4-FFF2-40B4-BE49-F238E27FC236}">
                <a16:creationId xmlns:a16="http://schemas.microsoft.com/office/drawing/2014/main" id="{2918B1DE-46F7-5AFE-412D-3E8EABE0FEA7}"/>
              </a:ext>
            </a:extLst>
          </p:cNvPr>
          <p:cNvSpPr/>
          <p:nvPr/>
        </p:nvSpPr>
        <p:spPr bwMode="gray">
          <a:xfrm>
            <a:off x="5257643" y="3479412"/>
            <a:ext cx="259511" cy="191307"/>
          </a:xfrm>
          <a:prstGeom prst="star5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6CBCC306-31DB-4828-2C94-DD0E356AA547}"/>
              </a:ext>
            </a:extLst>
          </p:cNvPr>
          <p:cNvSpPr/>
          <p:nvPr/>
        </p:nvSpPr>
        <p:spPr bwMode="gray">
          <a:xfrm>
            <a:off x="7141344" y="518284"/>
            <a:ext cx="259511" cy="191307"/>
          </a:xfrm>
          <a:prstGeom prst="star5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B4D986E6-3E2A-DB4E-E68E-1675CEBC2F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21112" y="505788"/>
            <a:ext cx="2290450" cy="1080299"/>
          </a:xfrm>
        </p:spPr>
        <p:txBody>
          <a:bodyPr/>
          <a:lstStyle/>
          <a:p>
            <a:pPr marL="342900" indent="-342900">
              <a:buAutoNum type="arabicParenR"/>
            </a:pPr>
            <a:r>
              <a:rPr lang="en-US" sz="1600" b="1" dirty="0"/>
              <a:t>All dashboard elements updated!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50959A2-DB11-D7EB-069D-D1CFD05CF4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551" y="2032718"/>
            <a:ext cx="2676899" cy="356284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0" name="Star: 5 Points 29">
            <a:extLst>
              <a:ext uri="{FF2B5EF4-FFF2-40B4-BE49-F238E27FC236}">
                <a16:creationId xmlns:a16="http://schemas.microsoft.com/office/drawing/2014/main" id="{DB6F0705-998C-6FC1-2BE3-F075A3F6D45D}"/>
              </a:ext>
            </a:extLst>
          </p:cNvPr>
          <p:cNvSpPr/>
          <p:nvPr/>
        </p:nvSpPr>
        <p:spPr bwMode="gray">
          <a:xfrm>
            <a:off x="6194283" y="4681124"/>
            <a:ext cx="259511" cy="191307"/>
          </a:xfrm>
          <a:prstGeom prst="star5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7521903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95053" y="181938"/>
            <a:ext cx="10798460" cy="864000"/>
          </a:xfrm>
        </p:spPr>
        <p:txBody>
          <a:bodyPr/>
          <a:lstStyle/>
          <a:p>
            <a:r>
              <a:rPr lang="en-US" b="1" dirty="0"/>
              <a:t>Sandbox App Visualiza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247308-80CA-731E-88F3-DCEB62E0DE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053" y="1789760"/>
            <a:ext cx="4848902" cy="283884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723B625-D4F8-8D07-1E06-D788D499C6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5902" y="181938"/>
            <a:ext cx="4913033" cy="617720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C443672F-3640-9E55-5D34-873360DE281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08990" y="4832278"/>
            <a:ext cx="3730466" cy="280353"/>
          </a:xfrm>
        </p:spPr>
        <p:txBody>
          <a:bodyPr/>
          <a:lstStyle/>
          <a:p>
            <a:pPr marL="342900" indent="-342900">
              <a:buAutoNum type="arabicParenR"/>
            </a:pPr>
            <a:r>
              <a:rPr lang="en-US" sz="1600" b="1" dirty="0"/>
              <a:t>Visualization (Configurable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FFC407-D00D-4E20-E213-B3E241FACC58}"/>
              </a:ext>
            </a:extLst>
          </p:cNvPr>
          <p:cNvSpPr txBox="1">
            <a:spLocks/>
          </p:cNvSpPr>
          <p:nvPr/>
        </p:nvSpPr>
        <p:spPr bwMode="gray">
          <a:xfrm>
            <a:off x="4010233" y="6010991"/>
            <a:ext cx="2532238" cy="10802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arenR"/>
            </a:pPr>
            <a:r>
              <a:rPr lang="en-US" sz="1600" b="1" dirty="0"/>
              <a:t>Image Interpretation</a:t>
            </a:r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DDBF3ECE-7303-7F97-3172-A30751BF3742}"/>
              </a:ext>
            </a:extLst>
          </p:cNvPr>
          <p:cNvSpPr/>
          <p:nvPr/>
        </p:nvSpPr>
        <p:spPr bwMode="gray">
          <a:xfrm>
            <a:off x="3750722" y="1719899"/>
            <a:ext cx="259511" cy="191307"/>
          </a:xfrm>
          <a:prstGeom prst="star5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7" name="Star: 5 Points 6">
            <a:extLst>
              <a:ext uri="{FF2B5EF4-FFF2-40B4-BE49-F238E27FC236}">
                <a16:creationId xmlns:a16="http://schemas.microsoft.com/office/drawing/2014/main" id="{B2CB12EC-E3FB-76BD-DA84-765A9FC57541}"/>
              </a:ext>
            </a:extLst>
          </p:cNvPr>
          <p:cNvSpPr/>
          <p:nvPr/>
        </p:nvSpPr>
        <p:spPr bwMode="gray">
          <a:xfrm>
            <a:off x="7011588" y="3511233"/>
            <a:ext cx="259511" cy="191307"/>
          </a:xfrm>
          <a:prstGeom prst="star5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262392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IAAAAAAAAAAwAAAAMAAAAA/////wQADwwAAAAAAAAAAAAAIAD///////////////8AAAD////////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wa6J4Q2xDFGkgvlEQ2zfv4FAAAAAAADAAAAAwADAAAAAQADAAAAAwD///////8DAAUA////////BAAAAAMAEAALHWcpC5M0x0m2W8OxI0yrlgUAAAABAAMAAAAAAAMAAAACAAMAAAAAAAMAAAACAA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a6J4Q2xDFGkgvlEQ2zfv4DRGF0YQAbAAAABExpbmtlZFNoYXBlRGF0YQAFAAAAAAACTmFtZQAZAAAATGlua2VkU2hhcGVzRGF0YVByb3BlcnR5ABBWZXJzaW9uAAAAAAAJTGFzdFdyaXRlAFZbpH2GAQAAAAEA/////8YAxgAAAAVfaWQAEAAAAAQdZykLkzTHSbZbw7EjTKuWA0RhdGEAUwAAAAhQcmVzZW50YXRpb25TY2FubmVkRm9yTGlua2VkU2hhcGVzAAECTnVtYmVyRm9ybWF0U2VwYXJhdG9yTW9kZQAKAAAAQXV0b21hdGljAAACTmFtZQAkAAAATGlua2VkU2hhcGVQcmVzZW50YXRpb25TZXR0aW5nc0RhdGEAEFZlcnNpb24AAAAAAAlMYXN0V3JpdGUAb1ukfY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27419687893411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GUID" val="106612b7-7cda-4c66-a943-3c88b56a92d2"/>
  <p:tag name="MIO_UPDATE" val="True"/>
  <p:tag name="MIO_DBID" val="8E7267AE-489F-4B02-8040-8A98451BF141"/>
  <p:tag name="MIO_OBJECTNAME" val="Master Bayer AG 16:9"/>
  <p:tag name="MIO_FALLBACK_LAYOUT" val="11"/>
  <p:tag name="MIO_SHOW_DATE" val="Fals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NUMBER_OF_VALID_LAYOUTS" val="18"/>
  <p:tag name="MIO_VERSION" val="01.03.2023 14:18:55"/>
  <p:tag name="MIO_SKIPVERSION" val="01.01.0001 00:00:00"/>
  <p:tag name="MIO_LASTDOWNLOADED" val="14.09.2023 07:26:35.504"/>
  <p:tag name="MIO_CDID" val="cd9a71c7-8ed9-41a1-8303-1a6d198585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efault Theme.pptx" id="{275742AA-FB53-4FB4-B0B9-C622A73FFB9F}" vid="{EA228DA1-34FE-43CF-9681-727D34967744}"/>
    </a:ext>
  </a:ext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93</TotalTime>
  <Words>595</Words>
  <Application>Microsoft Office PowerPoint</Application>
  <PresentationFormat>Custom</PresentationFormat>
  <Paragraphs>93</Paragraphs>
  <Slides>1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-apple-system</vt:lpstr>
      <vt:lpstr>Arial</vt:lpstr>
      <vt:lpstr>Calibri</vt:lpstr>
      <vt:lpstr>Times New Roman</vt:lpstr>
      <vt:lpstr>PR_BAG_PPT-master_16-9</vt:lpstr>
      <vt:lpstr>SPA and Friends Hands-On Workshop: Chatting with your Data</vt:lpstr>
      <vt:lpstr>Today's Schedule:</vt:lpstr>
      <vt:lpstr>Preamble:</vt:lpstr>
      <vt:lpstr>Overview:</vt:lpstr>
      <vt:lpstr>Overview:</vt:lpstr>
      <vt:lpstr>Today's Mission 🎯</vt:lpstr>
      <vt:lpstr>Sandbox App </vt:lpstr>
      <vt:lpstr>Sandbox App Filtering</vt:lpstr>
      <vt:lpstr>Sandbox App Visualizations</vt:lpstr>
      <vt:lpstr>Exercise: Open Format Exploration</vt:lpstr>
      <vt:lpstr>App Links 🌍</vt:lpstr>
      <vt:lpstr>How Was It?</vt:lpstr>
      <vt:lpstr>Open Discussion 🗣</vt:lpstr>
      <vt:lpstr>Open Discussion 🗣</vt:lpstr>
      <vt:lpstr>Open Discussion 🗣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Kumar</dc:creator>
  <cp:lastModifiedBy>Matthew Kumar</cp:lastModifiedBy>
  <cp:revision>3</cp:revision>
  <cp:lastPrinted>2017-10-23T10:44:12Z</cp:lastPrinted>
  <dcterms:created xsi:type="dcterms:W3CDTF">2023-03-01T14:16:25Z</dcterms:created>
  <dcterms:modified xsi:type="dcterms:W3CDTF">2025-06-10T11:0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MSIP_Label_2c76c141-ac86-40e5-abf2-c6f60e474cee_Enabled">
    <vt:lpwstr>true</vt:lpwstr>
  </property>
  <property fmtid="{D5CDD505-2E9C-101B-9397-08002B2CF9AE}" pid="4" name="MSIP_Label_2c76c141-ac86-40e5-abf2-c6f60e474cee_SetDate">
    <vt:lpwstr>2023-03-01T14:16:36Z</vt:lpwstr>
  </property>
  <property fmtid="{D5CDD505-2E9C-101B-9397-08002B2CF9AE}" pid="5" name="MSIP_Label_2c76c141-ac86-40e5-abf2-c6f60e474cee_Method">
    <vt:lpwstr>Privileged</vt:lpwstr>
  </property>
  <property fmtid="{D5CDD505-2E9C-101B-9397-08002B2CF9AE}" pid="6" name="MSIP_Label_2c76c141-ac86-40e5-abf2-c6f60e474cee_Name">
    <vt:lpwstr>2c76c141-ac86-40e5-abf2-c6f60e474cee</vt:lpwstr>
  </property>
  <property fmtid="{D5CDD505-2E9C-101B-9397-08002B2CF9AE}" pid="7" name="MSIP_Label_2c76c141-ac86-40e5-abf2-c6f60e474cee_SiteId">
    <vt:lpwstr>fcb2b37b-5da0-466b-9b83-0014b67a7c78</vt:lpwstr>
  </property>
  <property fmtid="{D5CDD505-2E9C-101B-9397-08002B2CF9AE}" pid="8" name="MSIP_Label_2c76c141-ac86-40e5-abf2-c6f60e474cee_ActionId">
    <vt:lpwstr>10d1c0e0-4bd9-4423-abbc-9adc82819239</vt:lpwstr>
  </property>
  <property fmtid="{D5CDD505-2E9C-101B-9397-08002B2CF9AE}" pid="9" name="MSIP_Label_2c76c141-ac86-40e5-abf2-c6f60e474cee_ContentBits">
    <vt:lpwstr>2</vt:lpwstr>
  </property>
  <property fmtid="{D5CDD505-2E9C-101B-9397-08002B2CF9AE}" pid="10" name="ClassificationContentMarkingFooterLocations">
    <vt:lpwstr>PR_BAG_PPT-master_16-9:9</vt:lpwstr>
  </property>
  <property fmtid="{D5CDD505-2E9C-101B-9397-08002B2CF9AE}" pid="11" name="ClassificationContentMarkingFooterText">
    <vt:lpwstr>RESTRICTED</vt:lpwstr>
  </property>
</Properties>
</file>